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8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9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1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3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4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5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16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17.xml" ContentType="application/vnd.openxmlformats-officedocument.theme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18.xml" ContentType="application/vnd.openxmlformats-officedocument.theme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19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2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21.xml" ContentType="application/vnd.openxmlformats-officedocument.theme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heme/theme22.xml" ContentType="application/vnd.openxmlformats-officedocument.theme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23.xml" ContentType="application/vnd.openxmlformats-officedocument.theme+xml"/>
  <Override PartName="/ppt/theme/theme24.xml" ContentType="application/vnd.openxmlformats-officedocument.theme+xml"/>
  <Override PartName="/ppt/theme/theme2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  <p:sldMasterId id="2147483796" r:id="rId5"/>
    <p:sldMasterId id="2147483805" r:id="rId6"/>
    <p:sldMasterId id="2147483842" r:id="rId7"/>
    <p:sldMasterId id="2147483851" r:id="rId8"/>
    <p:sldMasterId id="2147483864" r:id="rId9"/>
    <p:sldMasterId id="2147483891" r:id="rId10"/>
    <p:sldMasterId id="2147483914" r:id="rId11"/>
    <p:sldMasterId id="2147483937" r:id="rId12"/>
    <p:sldMasterId id="2147483950" r:id="rId13"/>
    <p:sldMasterId id="2147483974" r:id="rId14"/>
    <p:sldMasterId id="2147483987" r:id="rId15"/>
    <p:sldMasterId id="2147484011" r:id="rId16"/>
    <p:sldMasterId id="2147484023" r:id="rId17"/>
    <p:sldMasterId id="2147484033" r:id="rId18"/>
    <p:sldMasterId id="2147484056" r:id="rId19"/>
    <p:sldMasterId id="2147484081" r:id="rId20"/>
    <p:sldMasterId id="2147484084" r:id="rId21"/>
    <p:sldMasterId id="2147484094" r:id="rId22"/>
    <p:sldMasterId id="2147484103" r:id="rId23"/>
    <p:sldMasterId id="2147484126" r:id="rId24"/>
    <p:sldMasterId id="2147484155" r:id="rId25"/>
    <p:sldMasterId id="2147484162" r:id="rId26"/>
  </p:sldMasterIdLst>
  <p:notesMasterIdLst>
    <p:notesMasterId r:id="rId43"/>
  </p:notesMasterIdLst>
  <p:handoutMasterIdLst>
    <p:handoutMasterId r:id="rId44"/>
  </p:handoutMasterIdLst>
  <p:sldIdLst>
    <p:sldId id="357" r:id="rId27"/>
    <p:sldId id="425" r:id="rId28"/>
    <p:sldId id="390" r:id="rId29"/>
    <p:sldId id="424" r:id="rId30"/>
    <p:sldId id="393" r:id="rId31"/>
    <p:sldId id="394" r:id="rId32"/>
    <p:sldId id="396" r:id="rId33"/>
    <p:sldId id="397" r:id="rId34"/>
    <p:sldId id="417" r:id="rId35"/>
    <p:sldId id="418" r:id="rId36"/>
    <p:sldId id="419" r:id="rId37"/>
    <p:sldId id="420" r:id="rId38"/>
    <p:sldId id="399" r:id="rId39"/>
    <p:sldId id="401" r:id="rId40"/>
    <p:sldId id="378" r:id="rId41"/>
    <p:sldId id="404" r:id="rId42"/>
  </p:sldIdLst>
  <p:sldSz cx="9144000" cy="6858000" type="screen4x3"/>
  <p:notesSz cx="6797675" cy="9928225"/>
  <p:defaultTextStyle>
    <a:defPPr>
      <a:defRPr lang="fi-FI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Oletusosa" id="{B4A177D7-A887-4FAA-81A5-C6C5175E3B82}">
          <p14:sldIdLst>
            <p14:sldId id="357"/>
            <p14:sldId id="425"/>
            <p14:sldId id="390"/>
            <p14:sldId id="424"/>
            <p14:sldId id="393"/>
            <p14:sldId id="394"/>
            <p14:sldId id="396"/>
            <p14:sldId id="397"/>
            <p14:sldId id="417"/>
            <p14:sldId id="418"/>
            <p14:sldId id="419"/>
            <p14:sldId id="420"/>
            <p14:sldId id="399"/>
            <p14:sldId id="401"/>
          </p14:sldIdLst>
        </p14:section>
        <p14:section name="Nimetön osa" id="{A9FED04F-9726-426F-93BF-7D58C06B0891}">
          <p14:sldIdLst>
            <p14:sldId id="378"/>
            <p14:sldId id="40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nikukka Pyykkönen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883"/>
    <a:srgbClr val="FDBB79"/>
    <a:srgbClr val="1E9229"/>
    <a:srgbClr val="D964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77" autoAdjust="0"/>
    <p:restoredTop sz="86355" autoAdjust="0"/>
  </p:normalViewPr>
  <p:slideViewPr>
    <p:cSldViewPr>
      <p:cViewPr varScale="1">
        <p:scale>
          <a:sx n="100" d="100"/>
          <a:sy n="100" d="100"/>
        </p:scale>
        <p:origin x="1974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1266" y="-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8.xml"/><Relationship Id="rId42" Type="http://schemas.openxmlformats.org/officeDocument/2006/relationships/slide" Target="slides/slide16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3.xml"/><Relationship Id="rId41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5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8776" cy="517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15" tIns="44108" rIns="88215" bIns="44108" numCol="1" anchor="t" anchorCtr="0" compatLnSpc="1">
            <a:prstTxWarp prst="textNoShape">
              <a:avLst/>
            </a:prstTxWarp>
          </a:bodyPr>
          <a:lstStyle>
            <a:lvl1pPr defTabSz="881808">
              <a:defRPr sz="1200"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67698" y="0"/>
            <a:ext cx="2917175" cy="517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15" tIns="44108" rIns="88215" bIns="44108" numCol="1" anchor="t" anchorCtr="0" compatLnSpc="1">
            <a:prstTxWarp prst="textNoShape">
              <a:avLst/>
            </a:prstTxWarp>
          </a:bodyPr>
          <a:lstStyle>
            <a:lvl1pPr algn="r" defTabSz="881808">
              <a:defRPr sz="1200"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62217"/>
            <a:ext cx="2918776" cy="443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15" tIns="44108" rIns="88215" bIns="44108" numCol="1" anchor="b" anchorCtr="0" compatLnSpc="1">
            <a:prstTxWarp prst="textNoShape">
              <a:avLst/>
            </a:prstTxWarp>
          </a:bodyPr>
          <a:lstStyle>
            <a:lvl1pPr defTabSz="881808">
              <a:defRPr sz="1200"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73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67698" y="9462217"/>
            <a:ext cx="2917175" cy="443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15" tIns="44108" rIns="88215" bIns="44108" numCol="1" anchor="b" anchorCtr="0" compatLnSpc="1">
            <a:prstTxWarp prst="textNoShape">
              <a:avLst/>
            </a:prstTxWarp>
          </a:bodyPr>
          <a:lstStyle>
            <a:lvl1pPr algn="r" defTabSz="881808">
              <a:defRPr sz="1200">
                <a:cs typeface="+mn-cs"/>
              </a:defRPr>
            </a:lvl1pPr>
          </a:lstStyle>
          <a:p>
            <a:pPr>
              <a:defRPr/>
            </a:pPr>
            <a:fld id="{F20A702F-9E11-459F-AF92-9BE35BB75FC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02195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9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t" anchorCtr="0" compatLnSpc="1">
            <a:prstTxWarp prst="textNoShape">
              <a:avLst/>
            </a:prstTxWarp>
          </a:bodyPr>
          <a:lstStyle>
            <a:lvl1pPr defTabSz="955293">
              <a:defRPr sz="1200"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095" y="1"/>
            <a:ext cx="29459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t" anchorCtr="0" compatLnSpc="1">
            <a:prstTxWarp prst="textNoShape">
              <a:avLst/>
            </a:prstTxWarp>
          </a:bodyPr>
          <a:lstStyle>
            <a:lvl1pPr algn="r" defTabSz="955293">
              <a:defRPr sz="1200"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4238" y="771525"/>
            <a:ext cx="4964112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89" y="4715948"/>
            <a:ext cx="5437500" cy="446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noProof="0" smtClean="0"/>
              <a:t>Muokkaa tekstin perustyylejä napsauttamalla</a:t>
            </a:r>
          </a:p>
          <a:p>
            <a:pPr lvl="1"/>
            <a:r>
              <a:rPr lang="fi-FI" noProof="0" smtClean="0"/>
              <a:t>toinen taso</a:t>
            </a:r>
          </a:p>
          <a:p>
            <a:pPr lvl="2"/>
            <a:r>
              <a:rPr lang="fi-FI" noProof="0" smtClean="0"/>
              <a:t>kolmas taso</a:t>
            </a:r>
          </a:p>
          <a:p>
            <a:pPr lvl="3"/>
            <a:r>
              <a:rPr lang="fi-FI" noProof="0" smtClean="0"/>
              <a:t>neljäs taso</a:t>
            </a:r>
          </a:p>
          <a:p>
            <a:pPr lvl="4"/>
            <a:r>
              <a:rPr lang="fi-FI" noProof="0" smtClean="0"/>
              <a:t>viides taso</a:t>
            </a:r>
          </a:p>
        </p:txBody>
      </p:sp>
      <p:sp>
        <p:nvSpPr>
          <p:cNvPr id="184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298"/>
            <a:ext cx="2945980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b" anchorCtr="0" compatLnSpc="1">
            <a:prstTxWarp prst="textNoShape">
              <a:avLst/>
            </a:prstTxWarp>
          </a:bodyPr>
          <a:lstStyle>
            <a:lvl1pPr defTabSz="955293">
              <a:defRPr sz="1200"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184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095" y="9430298"/>
            <a:ext cx="2945980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8" rIns="95554" bIns="47778" numCol="1" anchor="b" anchorCtr="0" compatLnSpc="1">
            <a:prstTxWarp prst="textNoShape">
              <a:avLst/>
            </a:prstTxWarp>
          </a:bodyPr>
          <a:lstStyle>
            <a:lvl1pPr algn="r" defTabSz="955293">
              <a:defRPr sz="1200">
                <a:cs typeface="+mn-cs"/>
              </a:defRPr>
            </a:lvl1pPr>
          </a:lstStyle>
          <a:p>
            <a:pPr>
              <a:defRPr/>
            </a:pPr>
            <a:fld id="{C39C5A03-FE43-4B98-9134-4E98CD89BD4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899764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>
          <a:xfrm>
            <a:off x="884238" y="771525"/>
            <a:ext cx="4964112" cy="3724275"/>
          </a:xfrm>
        </p:spPr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9C5A03-FE43-4B98-9134-4E98CD89BD4F}" type="slidenum">
              <a:rPr lang="fi-FI" smtClean="0"/>
              <a:pPr>
                <a:defRPr/>
              </a:pPr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71314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4238" y="771525"/>
            <a:ext cx="4964112" cy="3724275"/>
          </a:xfrm>
          <a:ln/>
        </p:spPr>
      </p:sp>
      <p:sp>
        <p:nvSpPr>
          <p:cNvPr id="921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i-FI" altLang="fi-FI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5202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11200" indent="-273050" defTabSz="94773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93788" indent="-217488" defTabSz="94773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30350" indent="-217488" defTabSz="94773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68500" indent="-217488" defTabSz="94773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25700" indent="-217488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82900" indent="-217488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40100" indent="-217488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97300" indent="-217488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C65D53F-D235-48E6-9023-3E77D01E567E}" type="slidenum">
              <a:rPr lang="fi-FI" altLang="fi-FI" smtClean="0">
                <a:solidFill>
                  <a:srgbClr val="000000"/>
                </a:solidFill>
              </a:rPr>
              <a:pPr/>
              <a:t>9</a:t>
            </a:fld>
            <a:endParaRPr lang="fi-FI" altLang="fi-FI" smtClean="0">
              <a:solidFill>
                <a:srgbClr val="000000"/>
              </a:solidFill>
            </a:endParaRPr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6125"/>
            <a:ext cx="4959350" cy="3721100"/>
          </a:xfrm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i-FI" altLang="fi-FI" smtClean="0"/>
          </a:p>
        </p:txBody>
      </p:sp>
    </p:spTree>
    <p:extLst>
      <p:ext uri="{BB962C8B-B14F-4D97-AF65-F5344CB8AC3E}">
        <p14:creationId xmlns:p14="http://schemas.microsoft.com/office/powerpoint/2010/main" val="306835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20763" y="652463"/>
            <a:ext cx="4340225" cy="3255962"/>
          </a:xfrm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i-FI" altLang="fi-FI" smtClean="0"/>
          </a:p>
        </p:txBody>
      </p:sp>
    </p:spTree>
    <p:extLst>
      <p:ext uri="{BB962C8B-B14F-4D97-AF65-F5344CB8AC3E}">
        <p14:creationId xmlns:p14="http://schemas.microsoft.com/office/powerpoint/2010/main" val="682496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22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/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419477" y="6381751"/>
            <a:ext cx="936625" cy="360363"/>
          </a:xfrm>
        </p:spPr>
        <p:txBody>
          <a:bodyPr/>
          <a:lstStyle>
            <a:lvl1pPr algn="ctr"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6021388"/>
            <a:ext cx="6048375" cy="360362"/>
          </a:xfrm>
        </p:spPr>
        <p:txBody>
          <a:bodyPr/>
          <a:lstStyle>
            <a:lvl1pPr algn="ctr"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/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1412CA-0FAE-4293-892B-860E7A912575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8352928" cy="11430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2564904"/>
            <a:ext cx="8373616" cy="326896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99926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980729"/>
            <a:ext cx="8568952" cy="100811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0" y="1988841"/>
            <a:ext cx="4254624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988841"/>
            <a:ext cx="4248472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sv-SE" dirty="0" smtClean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4224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196753"/>
            <a:ext cx="8640960" cy="576064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0" y="1988841"/>
            <a:ext cx="4248472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0" y="2894956"/>
            <a:ext cx="4248472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08" y="1988841"/>
            <a:ext cx="4248472" cy="71177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2894956"/>
            <a:ext cx="4247455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9969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5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4032448" cy="79208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2204865"/>
            <a:ext cx="4032448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1452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30132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419872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899592" y="6021288"/>
            <a:ext cx="597666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srgbClr val="FFFFFF"/>
                </a:solidFill>
              </a:rPr>
              <a:t>Pohjois-Pohjanmaan ELY            Timo Mäkikyrö 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56372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4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09121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203848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683568" y="6093297"/>
            <a:ext cx="6048672" cy="28803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srgbClr val="FFFFFF"/>
                </a:solidFill>
              </a:rPr>
              <a:t>Pohjois-Pohjanmaan ELY            Timo Mäkikyrö 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0977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203848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683568" y="6021288"/>
            <a:ext cx="597666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srgbClr val="FFFFFF"/>
                </a:solidFill>
              </a:rPr>
              <a:t>Pohjois-Pohjanmaan ELY            Timo Mäkikyrö 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90984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56351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7347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lang="fi-FI" sz="3000" dirty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10" name="Kuva 11" descr="sosiaali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16279" y="260350"/>
            <a:ext cx="903287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Kuva 12" descr="vipuvoimaaEU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8804" y="260351"/>
            <a:ext cx="1163637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72430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/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6B8BB5-D310-42AA-81BB-61BA10636DE9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11560" y="548680"/>
            <a:ext cx="7776864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11561" y="1556792"/>
            <a:ext cx="7782695" cy="4536504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57460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41"/>
            <a:ext cx="7344816" cy="1470025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 smtClean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20773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7" name="Dian numeron paikkamerkki 9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3231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37557226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7821684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67477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8" name="Kuva 7" descr="sipuli_blue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53361" y="3933057"/>
            <a:ext cx="1290641" cy="2924944"/>
          </a:xfrm>
          <a:prstGeom prst="rect">
            <a:avLst/>
          </a:prstGeom>
        </p:spPr>
      </p:pic>
      <p:sp>
        <p:nvSpPr>
          <p:cNvPr id="11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7554339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11" name="Kuva 10" descr="sipuli_green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73506" y="3978714"/>
            <a:ext cx="1270495" cy="2879287"/>
          </a:xfrm>
          <a:prstGeom prst="rect">
            <a:avLst/>
          </a:prstGeom>
        </p:spPr>
      </p:pic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9321955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8" name="Kuva 7" descr="sipuli_orange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60266" y="3948708"/>
            <a:ext cx="1283735" cy="2909290"/>
          </a:xfrm>
          <a:prstGeom prst="rect">
            <a:avLst/>
          </a:prstGeom>
        </p:spPr>
      </p:pic>
      <p:sp>
        <p:nvSpPr>
          <p:cNvPr id="10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3678962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590465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590465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90444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blue_osa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3364" y="3933826"/>
            <a:ext cx="1290637" cy="292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FC945-3CB5-4B2D-9C0C-2B8D4695238B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7"/>
            <a:ext cx="6480720" cy="49817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0"/>
            <a:ext cx="648072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4"/>
            <a:ext cx="648072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56878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0" y="260649"/>
            <a:ext cx="8640960" cy="53285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5661248"/>
            <a:ext cx="864096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45175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8352928" cy="11430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2564904"/>
            <a:ext cx="8373616" cy="326896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61869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980729"/>
            <a:ext cx="8568952" cy="100811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0" y="1988841"/>
            <a:ext cx="4254624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988841"/>
            <a:ext cx="4248472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sv-SE" dirty="0" smtClean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176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196753"/>
            <a:ext cx="8640960" cy="576064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0" y="1988841"/>
            <a:ext cx="4248472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0" y="2894956"/>
            <a:ext cx="4248472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08" y="1988841"/>
            <a:ext cx="4248472" cy="71177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2894956"/>
            <a:ext cx="4247455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37130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5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4032448" cy="79208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2204865"/>
            <a:ext cx="4032448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39315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35797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2" descr="ELY_logo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428596" y="2071678"/>
            <a:ext cx="8229600" cy="1714512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10"/>
          <p:cNvSpPr>
            <a:spLocks noGrp="1"/>
          </p:cNvSpPr>
          <p:nvPr>
            <p:ph type="body" sz="quarter" idx="10"/>
          </p:nvPr>
        </p:nvSpPr>
        <p:spPr>
          <a:xfrm>
            <a:off x="2150240" y="3857626"/>
            <a:ext cx="4786312" cy="1571625"/>
          </a:xfrm>
          <a:prstGeom prst="rect">
            <a:avLst/>
          </a:prstGeom>
        </p:spPr>
        <p:txBody>
          <a:bodyPr/>
          <a:lstStyle>
            <a:lvl1pPr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9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942ED1-FF26-482F-A984-B4FB52D1F2E8}" type="datetime1">
              <a:rPr lang="fi-FI">
                <a:solidFill>
                  <a:prstClr val="white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6" name="Dian numeron paikkamerkki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6D68D0E-A56E-4223-86DD-0C3822F87919}" type="slidenum">
              <a:rPr lang="fi-FI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7" name="Alatunnisteen paikkamerkki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>
                <a:solidFill>
                  <a:prstClr val="white"/>
                </a:solidFill>
              </a:rPr>
              <a:t>Pohjois-Pohjanmaan elinkeino-, liikenne- ja ympäristökeskus</a:t>
            </a:r>
            <a:endParaRPr lang="fi-FI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0541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457200" y="1428736"/>
            <a:ext cx="8229600" cy="642942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i-FI" dirty="0" smtClean="0"/>
              <a:t>Muokkaa </a:t>
            </a:r>
            <a:r>
              <a:rPr lang="fi-FI" dirty="0" err="1" smtClean="0"/>
              <a:t>perustyyl</a:t>
            </a:r>
            <a:r>
              <a:rPr lang="fi-FI" dirty="0" smtClean="0"/>
              <a:t>. </a:t>
            </a:r>
            <a:r>
              <a:rPr lang="fi-FI" dirty="0" err="1" smtClean="0"/>
              <a:t>napsautt</a:t>
            </a:r>
            <a:r>
              <a:rPr lang="fi-FI" dirty="0" smtClean="0"/>
              <a:t>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471326" y="2286001"/>
            <a:ext cx="8286751" cy="2928938"/>
          </a:xfrm>
          <a:prstGeom prst="rect">
            <a:avLst/>
          </a:prstGeom>
        </p:spPr>
        <p:txBody>
          <a:bodyPr/>
          <a:lstStyle>
            <a:lvl1pPr>
              <a:buClrTx/>
              <a:buFont typeface="Wingdings" pitchFamily="2" charset="2"/>
              <a:buChar char="§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smtClean="0"/>
              <a:t>Muokkaa tekstin perustyylejä napsauttamalla</a:t>
            </a:r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0067B6-48C0-4D1E-BA9C-2B2A8A7FF7AB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8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8C5F6-6D3A-4292-B7FE-834A415A0688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88566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F61D2-48EC-4B2C-98E2-30C26855D60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74000-1E1A-40C1-8297-1F2432B077C0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924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green_osa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4000" y="3971925"/>
            <a:ext cx="1270000" cy="287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CDF23-4E5E-4791-BE3F-10297DC6B4C6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540FD-7EDC-493D-9A75-950BEBA9823B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3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4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855023-AAEE-465D-A5E4-F6851DAE4725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62282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Otsikko, teksti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05184-1591-4E0E-9FD7-FF5C051A01D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4EE295-F1F3-40F8-AA2A-4CCF08AF9DF1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2387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5983D-B051-4687-BBB7-98548CC761A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4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5917B-B201-48AC-A235-639D67580DEA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52959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D0945-BDF6-4F9C-8B08-0E1E99D5D1FD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55E9A-67D2-4126-A96F-CFC3FAABED2A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93675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prstClr val="white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419872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899592" y="6021288"/>
            <a:ext cx="6048672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prstClr val="white"/>
                </a:solidFill>
              </a:rPr>
              <a:t>Pohjois-Pohjanmaan elinkeino-, liikenne- ja ympäristökeskus</a:t>
            </a:r>
            <a:endParaRPr lang="fi-FI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2157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prstClr val="white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 smtClean="0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54265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Otsikko, teksti ja 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2"/>
          </p:nvPr>
        </p:nvSpPr>
        <p:spPr>
          <a:xfrm>
            <a:off x="4648200" y="1600201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3"/>
          </p:nvPr>
        </p:nvSpPr>
        <p:spPr>
          <a:xfrm>
            <a:off x="4648200" y="3938589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2.6.2009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CB65C4-8603-460C-B86B-BE51A320556D}" type="slidenum">
              <a:rPr lang="fi-FI" alt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59306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 smtClean="0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9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32636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04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4" y="16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9"/>
          <p:cNvSpPr/>
          <p:nvPr userDrawn="1"/>
        </p:nvSpPr>
        <p:spPr>
          <a:xfrm>
            <a:off x="0" y="981085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994" y="1557345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 hasCustomPrompt="1"/>
          </p:nvPr>
        </p:nvSpPr>
        <p:spPr>
          <a:xfrm>
            <a:off x="899592" y="2924945"/>
            <a:ext cx="5976664" cy="648072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fi-FI" noProof="0" dirty="0" smtClean="0"/>
              <a:t>Iskukykyinen ELY</a:t>
            </a:r>
            <a:endParaRPr lang="fi-FI" noProof="0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99592" y="3573044"/>
            <a:ext cx="5976664" cy="1368151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fi-FI" dirty="0" smtClean="0"/>
              <a:t>Projekti/Tilaisuus</a:t>
            </a:r>
          </a:p>
          <a:p>
            <a:pPr lvl="0"/>
            <a:endParaRPr lang="fi-FI" dirty="0" smtClean="0"/>
          </a:p>
          <a:p>
            <a:pPr lvl="0"/>
            <a:endParaRPr lang="fi-FI" dirty="0" smtClean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419493" y="6381785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4941169"/>
            <a:ext cx="5975351" cy="115212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61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85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994" y="1557345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94" y="6381785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8" name="Otsikko 6"/>
          <p:cNvSpPr>
            <a:spLocks noGrp="1"/>
          </p:cNvSpPr>
          <p:nvPr>
            <p:ph type="title" hasCustomPrompt="1"/>
          </p:nvPr>
        </p:nvSpPr>
        <p:spPr>
          <a:xfrm>
            <a:off x="899592" y="2924945"/>
            <a:ext cx="5976664" cy="648072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fi-FI" noProof="0" dirty="0" smtClean="0"/>
              <a:t>Iskukykyinen ELY</a:t>
            </a:r>
            <a:endParaRPr lang="fi-FI" noProof="0" dirty="0"/>
          </a:p>
        </p:txBody>
      </p:sp>
      <p:sp>
        <p:nvSpPr>
          <p:cNvPr id="9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99592" y="3573044"/>
            <a:ext cx="5976664" cy="1368151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fi-FI" dirty="0" smtClean="0"/>
              <a:t>Projekti/Tilaisuus</a:t>
            </a:r>
          </a:p>
          <a:p>
            <a:pPr lvl="0"/>
            <a:endParaRPr lang="fi-FI" dirty="0" smtClean="0"/>
          </a:p>
          <a:p>
            <a:pPr lvl="0"/>
            <a:endParaRPr lang="fi-FI" dirty="0" smtClean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4941169"/>
            <a:ext cx="5975351" cy="115212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572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orange_osa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9714" y="3948114"/>
            <a:ext cx="1284287" cy="290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F0ECC2-0023-4E75-ACF9-5EADE1440878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85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994" y="1557345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94" y="6381785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8" name="Otsikko 6"/>
          <p:cNvSpPr>
            <a:spLocks noGrp="1"/>
          </p:cNvSpPr>
          <p:nvPr>
            <p:ph type="title" hasCustomPrompt="1"/>
          </p:nvPr>
        </p:nvSpPr>
        <p:spPr>
          <a:xfrm>
            <a:off x="899592" y="2924945"/>
            <a:ext cx="5976664" cy="648072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fi-FI" noProof="0" dirty="0" smtClean="0"/>
              <a:t>Iskukykyinen ELY</a:t>
            </a:r>
            <a:endParaRPr lang="fi-FI" noProof="0" dirty="0"/>
          </a:p>
        </p:txBody>
      </p:sp>
      <p:sp>
        <p:nvSpPr>
          <p:cNvPr id="9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99592" y="3573044"/>
            <a:ext cx="5976664" cy="1368151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fi-FI" dirty="0" smtClean="0"/>
              <a:t>Projekti/Tilaisuus</a:t>
            </a:r>
          </a:p>
          <a:p>
            <a:pPr lvl="0"/>
            <a:endParaRPr lang="fi-FI" dirty="0" smtClean="0"/>
          </a:p>
          <a:p>
            <a:pPr lvl="0"/>
            <a:endParaRPr lang="fi-FI" dirty="0" smtClean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4941169"/>
            <a:ext cx="5975351" cy="115212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211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908720"/>
            <a:ext cx="7776864" cy="64294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lang="fi-FI" sz="2400" dirty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85" y="1772816"/>
            <a:ext cx="7782695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 marL="799855" indent="-342796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 sz="2000"/>
            </a:lvl2pPr>
            <a:lvl3pPr>
              <a:buSzPct val="100000"/>
              <a:defRPr sz="2000"/>
            </a:lvl3pPr>
          </a:lstStyle>
          <a:p>
            <a:pPr lvl="0"/>
            <a:r>
              <a:rPr lang="fi-FI" dirty="0" smtClean="0"/>
              <a:t>Lisää teksti</a:t>
            </a:r>
          </a:p>
          <a:p>
            <a:pPr lvl="1"/>
            <a:r>
              <a:rPr lang="fi-FI" dirty="0" smtClean="0"/>
              <a:t>Alaotsikko 1</a:t>
            </a:r>
          </a:p>
          <a:p>
            <a:pPr lvl="2"/>
            <a:r>
              <a:rPr lang="fi-FI" dirty="0" smtClean="0"/>
              <a:t>Alaotsikko 2</a:t>
            </a:r>
          </a:p>
          <a:p>
            <a:pPr lvl="0"/>
            <a:endParaRPr lang="fi-FI" dirty="0" smtClean="0"/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882284-112A-4200-A38D-E9DFDFFCC923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61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645AC4-E01C-48E6-A9F1-21E14F7A455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3" hasCustomPrompt="1"/>
          </p:nvPr>
        </p:nvSpPr>
        <p:spPr>
          <a:xfrm>
            <a:off x="827585" y="1124745"/>
            <a:ext cx="7782695" cy="458512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 marL="799855" indent="-342796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 sz="2000"/>
            </a:lvl2pPr>
            <a:lvl3pPr>
              <a:buSzPct val="100000"/>
              <a:defRPr sz="2000"/>
            </a:lvl3pPr>
          </a:lstStyle>
          <a:p>
            <a:pPr lvl="0"/>
            <a:r>
              <a:rPr lang="fi-FI" dirty="0" smtClean="0"/>
              <a:t>Lisää teksti</a:t>
            </a:r>
          </a:p>
          <a:p>
            <a:pPr lvl="1"/>
            <a:r>
              <a:rPr lang="fi-FI" dirty="0" smtClean="0"/>
              <a:t>Alaotsikko 1</a:t>
            </a:r>
          </a:p>
          <a:p>
            <a:pPr lvl="2"/>
            <a:r>
              <a:rPr lang="fi-FI" dirty="0" smtClean="0"/>
              <a:t>Alaotsikko 2</a:t>
            </a:r>
          </a:p>
          <a:p>
            <a:pPr lvl="0"/>
            <a:endParaRPr lang="fi-FI" dirty="0" smtClean="0"/>
          </a:p>
        </p:txBody>
      </p:sp>
      <p:sp>
        <p:nvSpPr>
          <p:cNvPr id="9" name="Otsikko 6"/>
          <p:cNvSpPr>
            <a:spLocks noGrp="1"/>
          </p:cNvSpPr>
          <p:nvPr>
            <p:ph type="title"/>
          </p:nvPr>
        </p:nvSpPr>
        <p:spPr>
          <a:xfrm>
            <a:off x="827584" y="404665"/>
            <a:ext cx="7776864" cy="64294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lang="fi-FI" sz="2400" dirty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64140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73"/>
            <a:ext cx="7344816" cy="1470025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i-FI" dirty="0" smtClean="0"/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A6E890-E696-4DBF-8402-B5738D04CE5B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688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5" y="1268760"/>
            <a:ext cx="7992888" cy="4464496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251C2B-6FD0-4199-B26F-DB2C9B95005D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25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32" y="0"/>
            <a:ext cx="10429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32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 marL="799855" indent="-342796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 sz="2000"/>
            </a:lvl2pPr>
            <a:lvl3pPr>
              <a:buSzPct val="100000"/>
              <a:defRPr sz="2000"/>
            </a:lvl3pPr>
          </a:lstStyle>
          <a:p>
            <a:pPr lvl="0"/>
            <a:r>
              <a:rPr lang="fi-FI" dirty="0" smtClean="0"/>
              <a:t>Lisää teksti</a:t>
            </a:r>
          </a:p>
          <a:p>
            <a:pPr lvl="1"/>
            <a:r>
              <a:rPr lang="fi-FI" dirty="0" smtClean="0"/>
              <a:t>Alaotsikko 1</a:t>
            </a:r>
          </a:p>
          <a:p>
            <a:pPr lvl="2"/>
            <a:r>
              <a:rPr lang="fi-FI" dirty="0" smtClean="0"/>
              <a:t>Alaotsikko 2</a:t>
            </a:r>
          </a:p>
          <a:p>
            <a:pPr lvl="0"/>
            <a:endParaRPr lang="fi-FI" dirty="0" smtClean="0"/>
          </a:p>
        </p:txBody>
      </p:sp>
      <p:sp>
        <p:nvSpPr>
          <p:cNvPr id="7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355972-C158-493A-A326-84D3F7574339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166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32" y="0"/>
            <a:ext cx="10429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32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 marL="799855" indent="-342796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 sz="2000"/>
            </a:lvl2pPr>
            <a:lvl3pPr>
              <a:buSzPct val="100000"/>
              <a:defRPr sz="2000"/>
            </a:lvl3pPr>
          </a:lstStyle>
          <a:p>
            <a:pPr lvl="0"/>
            <a:r>
              <a:rPr lang="fi-FI" dirty="0" smtClean="0"/>
              <a:t>Lisää teksti</a:t>
            </a:r>
          </a:p>
          <a:p>
            <a:pPr lvl="1"/>
            <a:r>
              <a:rPr lang="fi-FI" dirty="0" smtClean="0"/>
              <a:t>Alaotsikko 1</a:t>
            </a:r>
          </a:p>
          <a:p>
            <a:pPr lvl="2"/>
            <a:r>
              <a:rPr lang="fi-FI" dirty="0" smtClean="0"/>
              <a:t>Alaotsikko 2</a:t>
            </a:r>
          </a:p>
          <a:p>
            <a:pPr lvl="0"/>
            <a:endParaRPr lang="fi-FI" dirty="0" smtClean="0"/>
          </a:p>
        </p:txBody>
      </p:sp>
      <p:sp>
        <p:nvSpPr>
          <p:cNvPr id="7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F861-D451-4DBF-8E24-A8A0597FE6F9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897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32" y="0"/>
            <a:ext cx="104298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32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7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4DE3F5-0431-4BCF-A2B3-05B735D92E55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245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blue_os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371" y="3933857"/>
            <a:ext cx="1290637" cy="29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11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8CFE98-6C67-48DC-87C4-D75269EEB538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651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green_os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03" y="3978309"/>
            <a:ext cx="1270000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3C78C-3A88-4011-8BC3-8CA19745BCFD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034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590465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590465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 dirty="0"/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2D0F85-8921-413C-9EB3-15F02AFDB553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orange_os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9733" y="3948145"/>
            <a:ext cx="1284287" cy="290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10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79A75C-C431-42EB-A4B8-4173E494C240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908720"/>
            <a:ext cx="590465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3200"/>
            </a:lvl1pPr>
            <a:lvl2pPr marL="457061" indent="0">
              <a:buNone/>
              <a:defRPr sz="2800"/>
            </a:lvl2pPr>
            <a:lvl3pPr marL="914120" indent="0">
              <a:buNone/>
              <a:defRPr sz="2400"/>
            </a:lvl3pPr>
            <a:lvl4pPr marL="1371181" indent="0">
              <a:buNone/>
              <a:defRPr sz="2000"/>
            </a:lvl4pPr>
            <a:lvl5pPr marL="1828242" indent="0">
              <a:buNone/>
              <a:defRPr sz="2000"/>
            </a:lvl5pPr>
            <a:lvl6pPr marL="2285302" indent="0">
              <a:buNone/>
              <a:defRPr sz="2000"/>
            </a:lvl6pPr>
            <a:lvl7pPr marL="2742362" indent="0">
              <a:buNone/>
              <a:defRPr sz="2000"/>
            </a:lvl7pPr>
            <a:lvl8pPr marL="3199423" indent="0">
              <a:buNone/>
              <a:defRPr sz="2000"/>
            </a:lvl8pPr>
            <a:lvl9pPr marL="3656483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fi-FI" noProof="0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84" y="1772816"/>
            <a:ext cx="590465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22DB6-0109-4287-83C8-0A68F81ADCA3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211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5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8"/>
            <a:ext cx="6480720" cy="498178"/>
          </a:xfrm>
          <a:prstGeom prst="rect">
            <a:avLst/>
          </a:prstGeom>
        </p:spPr>
        <p:txBody>
          <a:bodyPr lIns="91415" tIns="45707" rIns="91415" bIns="45707"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2"/>
            <a:ext cx="6480720" cy="3600400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3200"/>
            </a:lvl1pPr>
            <a:lvl2pPr marL="457061" indent="0">
              <a:buNone/>
              <a:defRPr sz="2800"/>
            </a:lvl2pPr>
            <a:lvl3pPr marL="914120" indent="0">
              <a:buNone/>
              <a:defRPr sz="2400"/>
            </a:lvl3pPr>
            <a:lvl4pPr marL="1371181" indent="0">
              <a:buNone/>
              <a:defRPr sz="2000"/>
            </a:lvl4pPr>
            <a:lvl5pPr marL="1828242" indent="0">
              <a:buNone/>
              <a:defRPr sz="2000"/>
            </a:lvl5pPr>
            <a:lvl6pPr marL="2285302" indent="0">
              <a:buNone/>
              <a:defRPr sz="2000"/>
            </a:lvl6pPr>
            <a:lvl7pPr marL="2742362" indent="0">
              <a:buNone/>
              <a:defRPr sz="2000"/>
            </a:lvl7pPr>
            <a:lvl8pPr marL="3199423" indent="0">
              <a:buNone/>
              <a:defRPr sz="2000"/>
            </a:lvl8pPr>
            <a:lvl9pPr marL="3656483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5"/>
            <a:ext cx="6480720" cy="509934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1800"/>
            </a:lvl1pPr>
            <a:lvl2pPr marL="457061" indent="0">
              <a:buNone/>
              <a:defRPr sz="1200"/>
            </a:lvl2pPr>
            <a:lvl3pPr marL="914120" indent="0">
              <a:buNone/>
              <a:defRPr sz="1000"/>
            </a:lvl3pPr>
            <a:lvl4pPr marL="1371181" indent="0">
              <a:buNone/>
              <a:defRPr sz="900"/>
            </a:lvl4pPr>
            <a:lvl5pPr marL="1828242" indent="0">
              <a:buNone/>
              <a:defRPr sz="900"/>
            </a:lvl5pPr>
            <a:lvl6pPr marL="2285302" indent="0">
              <a:buNone/>
              <a:defRPr sz="900"/>
            </a:lvl6pPr>
            <a:lvl7pPr marL="2742362" indent="0">
              <a:buNone/>
              <a:defRPr sz="900"/>
            </a:lvl7pPr>
            <a:lvl8pPr marL="3199423" indent="0">
              <a:buNone/>
              <a:defRPr sz="900"/>
            </a:lvl8pPr>
            <a:lvl9pPr marL="365648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112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1" y="260649"/>
            <a:ext cx="8640960" cy="5328592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3200"/>
            </a:lvl1pPr>
            <a:lvl2pPr marL="457061" indent="0">
              <a:buNone/>
              <a:defRPr sz="2800"/>
            </a:lvl2pPr>
            <a:lvl3pPr marL="914120" indent="0">
              <a:buNone/>
              <a:defRPr sz="2400"/>
            </a:lvl3pPr>
            <a:lvl4pPr marL="1371181" indent="0">
              <a:buNone/>
              <a:defRPr sz="2000"/>
            </a:lvl4pPr>
            <a:lvl5pPr marL="1828242" indent="0">
              <a:buNone/>
              <a:defRPr sz="2000"/>
            </a:lvl5pPr>
            <a:lvl6pPr marL="2285302" indent="0">
              <a:buNone/>
              <a:defRPr sz="2000"/>
            </a:lvl6pPr>
            <a:lvl7pPr marL="2742362" indent="0">
              <a:buNone/>
              <a:defRPr sz="2000"/>
            </a:lvl7pPr>
            <a:lvl8pPr marL="3199423" indent="0">
              <a:buNone/>
              <a:defRPr sz="2000"/>
            </a:lvl8pPr>
            <a:lvl9pPr marL="3656483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1" y="5661248"/>
            <a:ext cx="8640960" cy="509934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1800"/>
            </a:lvl1pPr>
            <a:lvl2pPr marL="457061" indent="0">
              <a:buNone/>
              <a:defRPr sz="1200"/>
            </a:lvl2pPr>
            <a:lvl3pPr marL="914120" indent="0">
              <a:buNone/>
              <a:defRPr sz="1000"/>
            </a:lvl3pPr>
            <a:lvl4pPr marL="1371181" indent="0">
              <a:buNone/>
              <a:defRPr sz="900"/>
            </a:lvl4pPr>
            <a:lvl5pPr marL="1828242" indent="0">
              <a:buNone/>
              <a:defRPr sz="900"/>
            </a:lvl5pPr>
            <a:lvl6pPr marL="2285302" indent="0">
              <a:buNone/>
              <a:defRPr sz="900"/>
            </a:lvl6pPr>
            <a:lvl7pPr marL="2742362" indent="0">
              <a:buNone/>
              <a:defRPr sz="900"/>
            </a:lvl7pPr>
            <a:lvl8pPr marL="3199423" indent="0">
              <a:buNone/>
              <a:defRPr sz="900"/>
            </a:lvl8pPr>
            <a:lvl9pPr marL="365648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110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1772816"/>
            <a:ext cx="8373616" cy="432048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251521" y="980729"/>
            <a:ext cx="8568952" cy="792088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168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1" y="980729"/>
            <a:ext cx="8568952" cy="792088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1" y="1772816"/>
            <a:ext cx="4254624" cy="432048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772816"/>
            <a:ext cx="4248472" cy="432048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 smtClean="0"/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51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1" y="980729"/>
            <a:ext cx="8640960" cy="576064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1" y="1772817"/>
            <a:ext cx="4248472" cy="720080"/>
          </a:xfrm>
          <a:prstGeom prst="rect">
            <a:avLst/>
          </a:prstGeom>
        </p:spPr>
        <p:txBody>
          <a:bodyPr lIns="91415" tIns="45707" rIns="91415" bIns="45707" anchor="b"/>
          <a:lstStyle>
            <a:lvl1pPr marL="0" indent="0">
              <a:buNone/>
              <a:defRPr sz="2200" b="1"/>
            </a:lvl1pPr>
            <a:lvl2pPr marL="457061" indent="0">
              <a:buNone/>
              <a:defRPr sz="2000" b="1"/>
            </a:lvl2pPr>
            <a:lvl3pPr marL="914120" indent="0">
              <a:buNone/>
              <a:defRPr sz="1800" b="1"/>
            </a:lvl3pPr>
            <a:lvl4pPr marL="1371181" indent="0">
              <a:buNone/>
              <a:defRPr sz="1600" b="1"/>
            </a:lvl4pPr>
            <a:lvl5pPr marL="1828242" indent="0">
              <a:buNone/>
              <a:defRPr sz="1600" b="1"/>
            </a:lvl5pPr>
            <a:lvl6pPr marL="2285302" indent="0">
              <a:buNone/>
              <a:defRPr sz="1600" b="1"/>
            </a:lvl6pPr>
            <a:lvl7pPr marL="2742362" indent="0">
              <a:buNone/>
              <a:defRPr sz="1600" b="1"/>
            </a:lvl7pPr>
            <a:lvl8pPr marL="3199423" indent="0">
              <a:buNone/>
              <a:defRPr sz="1600" b="1"/>
            </a:lvl8pPr>
            <a:lvl9pPr marL="365648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1" y="2636942"/>
            <a:ext cx="4248472" cy="3414365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11" y="1772817"/>
            <a:ext cx="4248472" cy="711770"/>
          </a:xfrm>
          <a:prstGeom prst="rect">
            <a:avLst/>
          </a:prstGeom>
        </p:spPr>
        <p:txBody>
          <a:bodyPr lIns="91415" tIns="45707" rIns="91415" bIns="45707" anchor="b"/>
          <a:lstStyle>
            <a:lvl1pPr marL="0" indent="0">
              <a:buNone/>
              <a:defRPr sz="2200" b="1"/>
            </a:lvl1pPr>
            <a:lvl2pPr marL="457061" indent="0">
              <a:buNone/>
              <a:defRPr sz="2000" b="1"/>
            </a:lvl2pPr>
            <a:lvl3pPr marL="914120" indent="0">
              <a:buNone/>
              <a:defRPr sz="1800" b="1"/>
            </a:lvl3pPr>
            <a:lvl4pPr marL="1371181" indent="0">
              <a:buNone/>
              <a:defRPr sz="1600" b="1"/>
            </a:lvl4pPr>
            <a:lvl5pPr marL="1828242" indent="0">
              <a:buNone/>
              <a:defRPr sz="1600" b="1"/>
            </a:lvl5pPr>
            <a:lvl6pPr marL="2285302" indent="0">
              <a:buNone/>
              <a:defRPr sz="1600" b="1"/>
            </a:lvl6pPr>
            <a:lvl7pPr marL="2742362" indent="0">
              <a:buNone/>
              <a:defRPr sz="1600" b="1"/>
            </a:lvl7pPr>
            <a:lvl8pPr marL="3199423" indent="0">
              <a:buNone/>
              <a:defRPr sz="1600" b="1"/>
            </a:lvl8pPr>
            <a:lvl9pPr marL="365648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30" y="2636942"/>
            <a:ext cx="4247455" cy="3414365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Platshållare för sidfot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9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65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6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1" y="980729"/>
            <a:ext cx="4032448" cy="792088"/>
          </a:xfrm>
          <a:prstGeom prst="rect">
            <a:avLst/>
          </a:prstGeom>
        </p:spPr>
        <p:txBody>
          <a:bodyPr lIns="91415" tIns="45707" rIns="91415" bIns="45707" anchor="t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1" y="1916833"/>
            <a:ext cx="4032448" cy="3960440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061" indent="0">
              <a:buNone/>
              <a:defRPr sz="1200"/>
            </a:lvl2pPr>
            <a:lvl3pPr marL="914120" indent="0">
              <a:buNone/>
              <a:defRPr sz="1000"/>
            </a:lvl3pPr>
            <a:lvl4pPr marL="1371181" indent="0">
              <a:buNone/>
              <a:defRPr sz="900"/>
            </a:lvl4pPr>
            <a:lvl5pPr marL="1828242" indent="0">
              <a:buNone/>
              <a:defRPr sz="900"/>
            </a:lvl5pPr>
            <a:lvl6pPr marL="2285302" indent="0">
              <a:buNone/>
              <a:defRPr sz="900"/>
            </a:lvl6pPr>
            <a:lvl7pPr marL="2742362" indent="0">
              <a:buNone/>
              <a:defRPr sz="900"/>
            </a:lvl7pPr>
            <a:lvl8pPr marL="3199423" indent="0">
              <a:buNone/>
              <a:defRPr sz="900"/>
            </a:lvl8pPr>
            <a:lvl9pPr marL="365648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547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4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606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orange_os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9733" y="3948145"/>
            <a:ext cx="1284287" cy="290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1124745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10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988840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79A75C-C431-42EB-A4B8-4173E494C240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373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7"/>
            <a:ext cx="6480720" cy="49817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0"/>
            <a:ext cx="648072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4"/>
            <a:ext cx="648072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6E31AA2-47F8-4DFD-96EF-B4BC73F5C8B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975A30-2929-45F0-A22B-7E28D328DA5A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B0E545-11F2-4EEE-B2B2-340553817E9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732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41289-E487-4051-A34D-DB6472619D90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59466-A283-4443-ABE7-AE2FF25C3810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40610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F18C09-D9D0-49EE-8488-35558890C6F3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0B7383-3AEF-4D73-B184-AF0163FA3C3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15497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DD2F35-CBEF-4AE1-AFC2-D778731E2183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40D0B-79AB-4A02-8566-76A031641D4F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31778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7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D38A1B-C74F-46A6-8290-3425E00C2AAA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EA8BB0-CE28-4275-A779-062D4D16F87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87201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269119-FD27-46AB-8729-25B5C6FE43DA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B50A8-9486-4EA2-8C62-EA62378C7173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51212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6D344A-67F6-42DB-9762-9C88ABB5A89F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575724-467F-41FE-A6A9-A5638ECBF914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0609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21E68-8429-4A58-9513-3DF070AF37BF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76476-1FEC-4DD2-A2C1-D3E0C628E3C3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7093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fi-FI" noProof="0" smtClean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427E1F-B53D-45B4-82ED-4F70CF868D55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4990EC-BE4C-4B3A-ABC6-51C7F1295B64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94311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61810D-991B-4718-B1AA-9302C72EEA44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90271-A7CB-4E42-BC06-FCDEA22B3070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1201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0" y="260649"/>
            <a:ext cx="8640960" cy="53285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5661248"/>
            <a:ext cx="864096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2FFE89-C733-45F6-BFBC-77132FCBCDC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C53528-3EE7-44B7-A587-D6668F8083C1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48DBF7-8731-4239-BD88-BB6A17EBF27A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93506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56351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Pohjois-Pohjanmaan ELY            Timo Mäkikyrö </a:t>
            </a:r>
            <a:endParaRPr lang="fi-FI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35139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04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4" y="16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9"/>
          <p:cNvSpPr/>
          <p:nvPr userDrawn="1"/>
        </p:nvSpPr>
        <p:spPr>
          <a:xfrm>
            <a:off x="0" y="981085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994" y="1557345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 hasCustomPrompt="1"/>
          </p:nvPr>
        </p:nvSpPr>
        <p:spPr>
          <a:xfrm>
            <a:off x="899592" y="2924945"/>
            <a:ext cx="5976664" cy="648072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fi-FI" noProof="0" dirty="0" smtClean="0"/>
              <a:t>Iskukykyinen ELY</a:t>
            </a:r>
            <a:endParaRPr lang="fi-FI" noProof="0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99592" y="3573044"/>
            <a:ext cx="5976664" cy="1368151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fi-FI" dirty="0" smtClean="0"/>
              <a:t>Projekti/Tilaisuus</a:t>
            </a:r>
          </a:p>
          <a:p>
            <a:pPr lvl="0"/>
            <a:endParaRPr lang="fi-FI" dirty="0" smtClean="0"/>
          </a:p>
          <a:p>
            <a:pPr lvl="0"/>
            <a:endParaRPr lang="fi-FI" dirty="0" smtClean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419493" y="6381785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4941169"/>
            <a:ext cx="5975351" cy="115212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403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85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994" y="1557345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94" y="6381785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8" name="Otsikko 6"/>
          <p:cNvSpPr>
            <a:spLocks noGrp="1"/>
          </p:cNvSpPr>
          <p:nvPr>
            <p:ph type="title" hasCustomPrompt="1"/>
          </p:nvPr>
        </p:nvSpPr>
        <p:spPr>
          <a:xfrm>
            <a:off x="899592" y="2924945"/>
            <a:ext cx="5976664" cy="648072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fi-FI" noProof="0" dirty="0" smtClean="0"/>
              <a:t>Iskukykyinen ELY</a:t>
            </a:r>
            <a:endParaRPr lang="fi-FI" noProof="0" dirty="0"/>
          </a:p>
        </p:txBody>
      </p:sp>
      <p:sp>
        <p:nvSpPr>
          <p:cNvPr id="9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99592" y="3573044"/>
            <a:ext cx="5976664" cy="1368151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fi-FI" dirty="0" smtClean="0"/>
              <a:t>Projekti/Tilaisuus</a:t>
            </a:r>
          </a:p>
          <a:p>
            <a:pPr lvl="0"/>
            <a:endParaRPr lang="fi-FI" dirty="0" smtClean="0"/>
          </a:p>
          <a:p>
            <a:pPr lvl="0"/>
            <a:endParaRPr lang="fi-FI" dirty="0" smtClean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4941169"/>
            <a:ext cx="5975351" cy="115212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08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85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994" y="1557345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94" y="6381785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8" name="Otsikko 6"/>
          <p:cNvSpPr>
            <a:spLocks noGrp="1"/>
          </p:cNvSpPr>
          <p:nvPr>
            <p:ph type="title" hasCustomPrompt="1"/>
          </p:nvPr>
        </p:nvSpPr>
        <p:spPr>
          <a:xfrm>
            <a:off x="899592" y="2924945"/>
            <a:ext cx="5976664" cy="648072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fi-FI" noProof="0" dirty="0" smtClean="0"/>
              <a:t>Iskukykyinen ELY</a:t>
            </a:r>
            <a:endParaRPr lang="fi-FI" noProof="0" dirty="0"/>
          </a:p>
        </p:txBody>
      </p:sp>
      <p:sp>
        <p:nvSpPr>
          <p:cNvPr id="9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99592" y="3573044"/>
            <a:ext cx="5976664" cy="1368151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fi-FI" dirty="0" smtClean="0"/>
              <a:t>Projekti/Tilaisuus</a:t>
            </a:r>
          </a:p>
          <a:p>
            <a:pPr lvl="0"/>
            <a:endParaRPr lang="fi-FI" dirty="0" smtClean="0"/>
          </a:p>
          <a:p>
            <a:pPr lvl="0"/>
            <a:endParaRPr lang="fi-FI" dirty="0" smtClean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4941169"/>
            <a:ext cx="5975351" cy="115212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868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908720"/>
            <a:ext cx="7776864" cy="64294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lang="fi-FI" sz="2400" dirty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85" y="1772816"/>
            <a:ext cx="7782695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 marL="799855" indent="-342796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 sz="2000"/>
            </a:lvl2pPr>
            <a:lvl3pPr>
              <a:buSzPct val="100000"/>
              <a:defRPr sz="2000"/>
            </a:lvl3pPr>
          </a:lstStyle>
          <a:p>
            <a:pPr lvl="0"/>
            <a:r>
              <a:rPr lang="fi-FI" dirty="0" smtClean="0"/>
              <a:t>Lisää teksti</a:t>
            </a:r>
          </a:p>
          <a:p>
            <a:pPr lvl="1"/>
            <a:r>
              <a:rPr lang="fi-FI" dirty="0" smtClean="0"/>
              <a:t>Alaotsikko 1</a:t>
            </a:r>
          </a:p>
          <a:p>
            <a:pPr lvl="2"/>
            <a:r>
              <a:rPr lang="fi-FI" dirty="0" smtClean="0"/>
              <a:t>Alaotsikko 2</a:t>
            </a:r>
          </a:p>
          <a:p>
            <a:pPr lvl="0"/>
            <a:endParaRPr lang="fi-FI" dirty="0" smtClean="0"/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882284-112A-4200-A38D-E9DFDFFCC923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368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645AC4-E01C-48E6-A9F1-21E14F7A455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3" hasCustomPrompt="1"/>
          </p:nvPr>
        </p:nvSpPr>
        <p:spPr>
          <a:xfrm>
            <a:off x="827585" y="1124745"/>
            <a:ext cx="7782695" cy="458512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 marL="799855" indent="-342796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 sz="2000"/>
            </a:lvl2pPr>
            <a:lvl3pPr>
              <a:buSzPct val="100000"/>
              <a:defRPr sz="2000"/>
            </a:lvl3pPr>
          </a:lstStyle>
          <a:p>
            <a:pPr lvl="0"/>
            <a:r>
              <a:rPr lang="fi-FI" dirty="0" smtClean="0"/>
              <a:t>Lisää teksti</a:t>
            </a:r>
          </a:p>
          <a:p>
            <a:pPr lvl="1"/>
            <a:r>
              <a:rPr lang="fi-FI" dirty="0" smtClean="0"/>
              <a:t>Alaotsikko 1</a:t>
            </a:r>
          </a:p>
          <a:p>
            <a:pPr lvl="2"/>
            <a:r>
              <a:rPr lang="fi-FI" dirty="0" smtClean="0"/>
              <a:t>Alaotsikko 2</a:t>
            </a:r>
          </a:p>
          <a:p>
            <a:pPr lvl="0"/>
            <a:endParaRPr lang="fi-FI" dirty="0" smtClean="0"/>
          </a:p>
        </p:txBody>
      </p:sp>
      <p:sp>
        <p:nvSpPr>
          <p:cNvPr id="9" name="Otsikko 6"/>
          <p:cNvSpPr>
            <a:spLocks noGrp="1"/>
          </p:cNvSpPr>
          <p:nvPr>
            <p:ph type="title"/>
          </p:nvPr>
        </p:nvSpPr>
        <p:spPr>
          <a:xfrm>
            <a:off x="827584" y="404665"/>
            <a:ext cx="7776864" cy="64294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lang="fi-FI" sz="2400" dirty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239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73"/>
            <a:ext cx="7344816" cy="1470025"/>
          </a:xfrm>
          <a:prstGeom prst="rect">
            <a:avLst/>
          </a:prstGeom>
        </p:spPr>
        <p:txBody>
          <a:bodyPr lIns="91415" tIns="45707" rIns="91415" bIns="45707"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i-FI" dirty="0" smtClean="0"/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A6E890-E696-4DBF-8402-B5738D04CE5B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233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5" y="1268760"/>
            <a:ext cx="7992888" cy="4464496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251C2B-6FD0-4199-B26F-DB2C9B95005D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899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32" y="0"/>
            <a:ext cx="10429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32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 marL="799855" indent="-342796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 sz="2000"/>
            </a:lvl2pPr>
            <a:lvl3pPr>
              <a:buSzPct val="100000"/>
              <a:defRPr sz="2000"/>
            </a:lvl3pPr>
          </a:lstStyle>
          <a:p>
            <a:pPr lvl="0"/>
            <a:r>
              <a:rPr lang="fi-FI" dirty="0" smtClean="0"/>
              <a:t>Lisää teksti</a:t>
            </a:r>
          </a:p>
          <a:p>
            <a:pPr lvl="1"/>
            <a:r>
              <a:rPr lang="fi-FI" dirty="0" smtClean="0"/>
              <a:t>Alaotsikko 1</a:t>
            </a:r>
          </a:p>
          <a:p>
            <a:pPr lvl="2"/>
            <a:r>
              <a:rPr lang="fi-FI" dirty="0" smtClean="0"/>
              <a:t>Alaotsikko 2</a:t>
            </a:r>
          </a:p>
          <a:p>
            <a:pPr lvl="0"/>
            <a:endParaRPr lang="fi-FI" dirty="0" smtClean="0"/>
          </a:p>
        </p:txBody>
      </p:sp>
      <p:sp>
        <p:nvSpPr>
          <p:cNvPr id="7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355972-C158-493A-A326-84D3F7574339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249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8352928" cy="11430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2564904"/>
            <a:ext cx="8373616" cy="326896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3FEE0E1-4974-4BA3-BF45-866EF4A41BF8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32" y="0"/>
            <a:ext cx="10429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32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 marL="799855" indent="-342796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 sz="2000"/>
            </a:lvl2pPr>
            <a:lvl3pPr>
              <a:buSzPct val="100000"/>
              <a:defRPr sz="2000"/>
            </a:lvl3pPr>
          </a:lstStyle>
          <a:p>
            <a:pPr lvl="0"/>
            <a:r>
              <a:rPr lang="fi-FI" dirty="0" smtClean="0"/>
              <a:t>Lisää teksti</a:t>
            </a:r>
          </a:p>
          <a:p>
            <a:pPr lvl="1"/>
            <a:r>
              <a:rPr lang="fi-FI" dirty="0" smtClean="0"/>
              <a:t>Alaotsikko 1</a:t>
            </a:r>
          </a:p>
          <a:p>
            <a:pPr lvl="2"/>
            <a:r>
              <a:rPr lang="fi-FI" dirty="0" smtClean="0"/>
              <a:t>Alaotsikko 2</a:t>
            </a:r>
          </a:p>
          <a:p>
            <a:pPr lvl="0"/>
            <a:endParaRPr lang="fi-FI" dirty="0" smtClean="0"/>
          </a:p>
        </p:txBody>
      </p:sp>
      <p:sp>
        <p:nvSpPr>
          <p:cNvPr id="7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1F861-D451-4DBF-8E24-A8A0597FE6F9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570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32" y="0"/>
            <a:ext cx="104298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7" rIns="91415" bIns="45707" anchor="ctr"/>
          <a:lstStyle/>
          <a:p>
            <a:pPr algn="ctr" defTabSz="914120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32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7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4DE3F5-0431-4BCF-A2B3-05B735D92E55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556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blue_os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371" y="3933857"/>
            <a:ext cx="1290637" cy="29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11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8CFE98-6C67-48DC-87C4-D75269EEB538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781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green_os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03" y="3978309"/>
            <a:ext cx="1270000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3C78C-3A88-4011-8BC3-8CA19745BCFD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321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orange_os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9733" y="3948145"/>
            <a:ext cx="1284287" cy="290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908720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10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772816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79A75C-C431-42EB-A4B8-4173E494C240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70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908720"/>
            <a:ext cx="590465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3200"/>
            </a:lvl1pPr>
            <a:lvl2pPr marL="457061" indent="0">
              <a:buNone/>
              <a:defRPr sz="2800"/>
            </a:lvl2pPr>
            <a:lvl3pPr marL="914120" indent="0">
              <a:buNone/>
              <a:defRPr sz="2400"/>
            </a:lvl3pPr>
            <a:lvl4pPr marL="1371181" indent="0">
              <a:buNone/>
              <a:defRPr sz="2000"/>
            </a:lvl4pPr>
            <a:lvl5pPr marL="1828242" indent="0">
              <a:buNone/>
              <a:defRPr sz="2000"/>
            </a:lvl5pPr>
            <a:lvl6pPr marL="2285302" indent="0">
              <a:buNone/>
              <a:defRPr sz="2000"/>
            </a:lvl6pPr>
            <a:lvl7pPr marL="2742362" indent="0">
              <a:buNone/>
              <a:defRPr sz="2000"/>
            </a:lvl7pPr>
            <a:lvl8pPr marL="3199423" indent="0">
              <a:buNone/>
              <a:defRPr sz="2000"/>
            </a:lvl8pPr>
            <a:lvl9pPr marL="3656483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fi-FI" noProof="0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84" y="1772816"/>
            <a:ext cx="590465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22DB6-0109-4287-83C8-0A68F81ADCA3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417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5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8"/>
            <a:ext cx="6480720" cy="498178"/>
          </a:xfrm>
          <a:prstGeom prst="rect">
            <a:avLst/>
          </a:prstGeom>
        </p:spPr>
        <p:txBody>
          <a:bodyPr lIns="91415" tIns="45707" rIns="91415" bIns="45707"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2"/>
            <a:ext cx="6480720" cy="3600400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3200"/>
            </a:lvl1pPr>
            <a:lvl2pPr marL="457061" indent="0">
              <a:buNone/>
              <a:defRPr sz="2800"/>
            </a:lvl2pPr>
            <a:lvl3pPr marL="914120" indent="0">
              <a:buNone/>
              <a:defRPr sz="2400"/>
            </a:lvl3pPr>
            <a:lvl4pPr marL="1371181" indent="0">
              <a:buNone/>
              <a:defRPr sz="2000"/>
            </a:lvl4pPr>
            <a:lvl5pPr marL="1828242" indent="0">
              <a:buNone/>
              <a:defRPr sz="2000"/>
            </a:lvl5pPr>
            <a:lvl6pPr marL="2285302" indent="0">
              <a:buNone/>
              <a:defRPr sz="2000"/>
            </a:lvl6pPr>
            <a:lvl7pPr marL="2742362" indent="0">
              <a:buNone/>
              <a:defRPr sz="2000"/>
            </a:lvl7pPr>
            <a:lvl8pPr marL="3199423" indent="0">
              <a:buNone/>
              <a:defRPr sz="2000"/>
            </a:lvl8pPr>
            <a:lvl9pPr marL="3656483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5"/>
            <a:ext cx="6480720" cy="509934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1800"/>
            </a:lvl1pPr>
            <a:lvl2pPr marL="457061" indent="0">
              <a:buNone/>
              <a:defRPr sz="1200"/>
            </a:lvl2pPr>
            <a:lvl3pPr marL="914120" indent="0">
              <a:buNone/>
              <a:defRPr sz="1000"/>
            </a:lvl3pPr>
            <a:lvl4pPr marL="1371181" indent="0">
              <a:buNone/>
              <a:defRPr sz="900"/>
            </a:lvl4pPr>
            <a:lvl5pPr marL="1828242" indent="0">
              <a:buNone/>
              <a:defRPr sz="900"/>
            </a:lvl5pPr>
            <a:lvl6pPr marL="2285302" indent="0">
              <a:buNone/>
              <a:defRPr sz="900"/>
            </a:lvl6pPr>
            <a:lvl7pPr marL="2742362" indent="0">
              <a:buNone/>
              <a:defRPr sz="900"/>
            </a:lvl7pPr>
            <a:lvl8pPr marL="3199423" indent="0">
              <a:buNone/>
              <a:defRPr sz="900"/>
            </a:lvl8pPr>
            <a:lvl9pPr marL="365648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738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1" y="260649"/>
            <a:ext cx="8640960" cy="5328592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3200"/>
            </a:lvl1pPr>
            <a:lvl2pPr marL="457061" indent="0">
              <a:buNone/>
              <a:defRPr sz="2800"/>
            </a:lvl2pPr>
            <a:lvl3pPr marL="914120" indent="0">
              <a:buNone/>
              <a:defRPr sz="2400"/>
            </a:lvl3pPr>
            <a:lvl4pPr marL="1371181" indent="0">
              <a:buNone/>
              <a:defRPr sz="2000"/>
            </a:lvl4pPr>
            <a:lvl5pPr marL="1828242" indent="0">
              <a:buNone/>
              <a:defRPr sz="2000"/>
            </a:lvl5pPr>
            <a:lvl6pPr marL="2285302" indent="0">
              <a:buNone/>
              <a:defRPr sz="2000"/>
            </a:lvl6pPr>
            <a:lvl7pPr marL="2742362" indent="0">
              <a:buNone/>
              <a:defRPr sz="2000"/>
            </a:lvl7pPr>
            <a:lvl8pPr marL="3199423" indent="0">
              <a:buNone/>
              <a:defRPr sz="2000"/>
            </a:lvl8pPr>
            <a:lvl9pPr marL="3656483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1" y="5661248"/>
            <a:ext cx="8640960" cy="509934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1800"/>
            </a:lvl1pPr>
            <a:lvl2pPr marL="457061" indent="0">
              <a:buNone/>
              <a:defRPr sz="1200"/>
            </a:lvl2pPr>
            <a:lvl3pPr marL="914120" indent="0">
              <a:buNone/>
              <a:defRPr sz="1000"/>
            </a:lvl3pPr>
            <a:lvl4pPr marL="1371181" indent="0">
              <a:buNone/>
              <a:defRPr sz="900"/>
            </a:lvl4pPr>
            <a:lvl5pPr marL="1828242" indent="0">
              <a:buNone/>
              <a:defRPr sz="900"/>
            </a:lvl5pPr>
            <a:lvl6pPr marL="2285302" indent="0">
              <a:buNone/>
              <a:defRPr sz="900"/>
            </a:lvl6pPr>
            <a:lvl7pPr marL="2742362" indent="0">
              <a:buNone/>
              <a:defRPr sz="900"/>
            </a:lvl7pPr>
            <a:lvl8pPr marL="3199423" indent="0">
              <a:buNone/>
              <a:defRPr sz="900"/>
            </a:lvl8pPr>
            <a:lvl9pPr marL="365648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525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1772816"/>
            <a:ext cx="8373616" cy="432048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251521" y="980729"/>
            <a:ext cx="8568952" cy="792088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084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1" y="980729"/>
            <a:ext cx="8568952" cy="792088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1" y="1772816"/>
            <a:ext cx="4254624" cy="432048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772816"/>
            <a:ext cx="4248472" cy="432048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 smtClean="0"/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754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980729"/>
            <a:ext cx="8568952" cy="100811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0" y="1988841"/>
            <a:ext cx="4254624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988841"/>
            <a:ext cx="4248472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sv-SE" dirty="0" smtClean="0"/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8A1D15A-7522-4C65-B32B-4ABBAE79EBA5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1" y="980729"/>
            <a:ext cx="8640960" cy="576064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1" y="1772817"/>
            <a:ext cx="4248472" cy="720080"/>
          </a:xfrm>
          <a:prstGeom prst="rect">
            <a:avLst/>
          </a:prstGeom>
        </p:spPr>
        <p:txBody>
          <a:bodyPr lIns="91415" tIns="45707" rIns="91415" bIns="45707" anchor="b"/>
          <a:lstStyle>
            <a:lvl1pPr marL="0" indent="0">
              <a:buNone/>
              <a:defRPr sz="2200" b="1"/>
            </a:lvl1pPr>
            <a:lvl2pPr marL="457061" indent="0">
              <a:buNone/>
              <a:defRPr sz="2000" b="1"/>
            </a:lvl2pPr>
            <a:lvl3pPr marL="914120" indent="0">
              <a:buNone/>
              <a:defRPr sz="1800" b="1"/>
            </a:lvl3pPr>
            <a:lvl4pPr marL="1371181" indent="0">
              <a:buNone/>
              <a:defRPr sz="1600" b="1"/>
            </a:lvl4pPr>
            <a:lvl5pPr marL="1828242" indent="0">
              <a:buNone/>
              <a:defRPr sz="1600" b="1"/>
            </a:lvl5pPr>
            <a:lvl6pPr marL="2285302" indent="0">
              <a:buNone/>
              <a:defRPr sz="1600" b="1"/>
            </a:lvl6pPr>
            <a:lvl7pPr marL="2742362" indent="0">
              <a:buNone/>
              <a:defRPr sz="1600" b="1"/>
            </a:lvl7pPr>
            <a:lvl8pPr marL="3199423" indent="0">
              <a:buNone/>
              <a:defRPr sz="1600" b="1"/>
            </a:lvl8pPr>
            <a:lvl9pPr marL="365648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1" y="2636942"/>
            <a:ext cx="4248472" cy="3414365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11" y="1772817"/>
            <a:ext cx="4248472" cy="711770"/>
          </a:xfrm>
          <a:prstGeom prst="rect">
            <a:avLst/>
          </a:prstGeom>
        </p:spPr>
        <p:txBody>
          <a:bodyPr lIns="91415" tIns="45707" rIns="91415" bIns="45707" anchor="b"/>
          <a:lstStyle>
            <a:lvl1pPr marL="0" indent="0">
              <a:buNone/>
              <a:defRPr sz="2200" b="1"/>
            </a:lvl1pPr>
            <a:lvl2pPr marL="457061" indent="0">
              <a:buNone/>
              <a:defRPr sz="2000" b="1"/>
            </a:lvl2pPr>
            <a:lvl3pPr marL="914120" indent="0">
              <a:buNone/>
              <a:defRPr sz="1800" b="1"/>
            </a:lvl3pPr>
            <a:lvl4pPr marL="1371181" indent="0">
              <a:buNone/>
              <a:defRPr sz="1600" b="1"/>
            </a:lvl4pPr>
            <a:lvl5pPr marL="1828242" indent="0">
              <a:buNone/>
              <a:defRPr sz="1600" b="1"/>
            </a:lvl5pPr>
            <a:lvl6pPr marL="2285302" indent="0">
              <a:buNone/>
              <a:defRPr sz="1600" b="1"/>
            </a:lvl6pPr>
            <a:lvl7pPr marL="2742362" indent="0">
              <a:buNone/>
              <a:defRPr sz="1600" b="1"/>
            </a:lvl7pPr>
            <a:lvl8pPr marL="3199423" indent="0">
              <a:buNone/>
              <a:defRPr sz="1600" b="1"/>
            </a:lvl8pPr>
            <a:lvl9pPr marL="365648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30" y="2636942"/>
            <a:ext cx="4247455" cy="3414365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Platshållare för sidfot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9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907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6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1" y="980729"/>
            <a:ext cx="4032448" cy="792088"/>
          </a:xfrm>
          <a:prstGeom prst="rect">
            <a:avLst/>
          </a:prstGeom>
        </p:spPr>
        <p:txBody>
          <a:bodyPr lIns="91415" tIns="45707" rIns="91415" bIns="45707" anchor="t"/>
          <a:lstStyle>
            <a:lvl1pPr algn="l"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1" y="1916833"/>
            <a:ext cx="4032448" cy="3960440"/>
          </a:xfrm>
          <a:prstGeom prst="rect">
            <a:avLst/>
          </a:prstGeom>
        </p:spPr>
        <p:txBody>
          <a:bodyPr lIns="91415" tIns="45707" rIns="91415" bIns="45707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061" indent="0">
              <a:buNone/>
              <a:defRPr sz="1200"/>
            </a:lvl2pPr>
            <a:lvl3pPr marL="914120" indent="0">
              <a:buNone/>
              <a:defRPr sz="1000"/>
            </a:lvl3pPr>
            <a:lvl4pPr marL="1371181" indent="0">
              <a:buNone/>
              <a:defRPr sz="900"/>
            </a:lvl4pPr>
            <a:lvl5pPr marL="1828242" indent="0">
              <a:buNone/>
              <a:defRPr sz="900"/>
            </a:lvl5pPr>
            <a:lvl6pPr marL="2285302" indent="0">
              <a:buNone/>
              <a:defRPr sz="900"/>
            </a:lvl6pPr>
            <a:lvl7pPr marL="2742362" indent="0">
              <a:buNone/>
              <a:defRPr sz="900"/>
            </a:lvl7pPr>
            <a:lvl8pPr marL="3199423" indent="0">
              <a:buNone/>
              <a:defRPr sz="900"/>
            </a:lvl8pPr>
            <a:lvl9pPr marL="365648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408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4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40649" y="6381785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DF3318-0B4C-408A-BB59-30D51B2A056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68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orange_os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9733" y="3948145"/>
            <a:ext cx="1284287" cy="290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91" y="1124745"/>
            <a:ext cx="6624736" cy="648072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i-FI" dirty="0"/>
          </a:p>
        </p:txBody>
      </p:sp>
      <p:sp>
        <p:nvSpPr>
          <p:cNvPr id="10" name="Tekstin paikkamerkki 16"/>
          <p:cNvSpPr>
            <a:spLocks noGrp="1"/>
          </p:cNvSpPr>
          <p:nvPr>
            <p:ph type="body" sz="quarter" idx="10" hasCustomPrompt="1"/>
          </p:nvPr>
        </p:nvSpPr>
        <p:spPr>
          <a:xfrm>
            <a:off x="827591" y="1988840"/>
            <a:ext cx="6624736" cy="3937050"/>
          </a:xfrm>
          <a:prstGeom prst="rect">
            <a:avLst/>
          </a:prstGeom>
        </p:spPr>
        <p:txBody>
          <a:bodyPr lIns="91415" tIns="45707" rIns="91415" bIns="45707"/>
          <a:lstStyle>
            <a:lvl1pPr>
              <a:buClr>
                <a:schemeClr val="accent6"/>
              </a:buClr>
              <a:buSzPct val="125000"/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dirty="0" smtClean="0"/>
              <a:t>Lisää teksti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79A75C-C431-42EB-A4B8-4173E494C240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73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737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143000" y="1122364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80341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79962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3889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23889" y="4589465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15703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36106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9842" y="365127"/>
            <a:ext cx="7886700" cy="1325563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29151" y="1681164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4069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7856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/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4"/>
            <a:ext cx="5976664" cy="1584176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09121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77" y="6381751"/>
            <a:ext cx="936625" cy="360363"/>
          </a:xfrm>
        </p:spPr>
        <p:txBody>
          <a:bodyPr/>
          <a:lstStyle>
            <a:lvl1pPr algn="ctr"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684214" y="6021388"/>
            <a:ext cx="6048375" cy="360362"/>
          </a:xfrm>
        </p:spPr>
        <p:txBody>
          <a:bodyPr/>
          <a:lstStyle>
            <a:lvl1pPr algn="ctr"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196753"/>
            <a:ext cx="8640960" cy="576064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0" y="1988841"/>
            <a:ext cx="4248472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0" y="2894956"/>
            <a:ext cx="4248472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08" y="1988841"/>
            <a:ext cx="4248472" cy="71177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2894956"/>
            <a:ext cx="4247455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7" name="Platshållare för sidfot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8" name="Platshållare för bildnummer 8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7BA434B-DF0E-43A3-AE57-0A7DA28EE28C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84857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13793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1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55421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66181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8"/>
          </a:xfrm>
        </p:spPr>
        <p:txBody>
          <a:bodyPr vert="eaVert"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8"/>
          </a:xfrm>
        </p:spPr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91961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dia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7" descr="Pitkät_nuolet_cmyk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7" r="-1753"/>
          <a:stretch/>
        </p:blipFill>
        <p:spPr>
          <a:xfrm rot="10800000" flipH="1">
            <a:off x="0" y="1027202"/>
            <a:ext cx="8928000" cy="43375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6000" y="4387200"/>
            <a:ext cx="5018683" cy="974400"/>
          </a:xfrm>
        </p:spPr>
        <p:txBody>
          <a:bodyPr anchor="b">
            <a:noAutofit/>
          </a:bodyPr>
          <a:lstStyle>
            <a:lvl1pPr algn="l">
              <a:defRPr sz="28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6000" y="5515200"/>
            <a:ext cx="6696000" cy="504000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1800" kern="1200" baseline="0" dirty="0">
                <a:solidFill>
                  <a:srgbClr val="00B0C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04579" y="6086853"/>
            <a:ext cx="2057400" cy="365125"/>
          </a:xfrm>
        </p:spPr>
        <p:txBody>
          <a:bodyPr/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Clr>
                <a:srgbClr val="00B0CA"/>
              </a:buClr>
              <a:buSzPct val="140000"/>
              <a:buFont typeface="Arial" panose="020B0604020202020204" pitchFamily="34" charset="0"/>
              <a:buNone/>
              <a:defRPr lang="fi-FI" sz="1200" b="0" kern="1200" baseline="0" smtClean="0">
                <a:solidFill>
                  <a:srgbClr val="00B0C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t>15.6.2015</a:t>
            </a:r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98614" y="83674"/>
            <a:ext cx="2175461" cy="1050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>
              <a:solidFill>
                <a:prstClr val="white"/>
              </a:solidFill>
            </a:endParaRPr>
          </a:p>
        </p:txBody>
      </p:sp>
      <p:pic>
        <p:nvPicPr>
          <p:cNvPr id="8" name="Kuva 10" descr="UUSI_Liikennevirasto_Tapahtumat_vaaka_cmyk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856" b="18364"/>
          <a:stretch/>
        </p:blipFill>
        <p:spPr>
          <a:xfrm>
            <a:off x="252002" y="163200"/>
            <a:ext cx="1009271" cy="144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33470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äliotsikko" preserve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astakkaisista kulmista pyöristetty suorakulmio 1"/>
          <p:cNvSpPr/>
          <p:nvPr/>
        </p:nvSpPr>
        <p:spPr>
          <a:xfrm flipH="1">
            <a:off x="1044000" y="2348922"/>
            <a:ext cx="7128792" cy="2880320"/>
          </a:xfrm>
          <a:prstGeom prst="round2DiagRect">
            <a:avLst>
              <a:gd name="adj1" fmla="val 25354"/>
              <a:gd name="adj2" fmla="val 0"/>
            </a:avLst>
          </a:prstGeom>
          <a:solidFill>
            <a:srgbClr val="00B0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15.6.2015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4DA235-7EA1-4625-B20E-92643EB613A9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96396" y="3059955"/>
            <a:ext cx="6624000" cy="1601692"/>
          </a:xfrm>
        </p:spPr>
        <p:txBody>
          <a:bodyPr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63781256"/>
      </p:ext>
    </p:extLst>
  </p:cSld>
  <p:clrMapOvr>
    <a:masterClrMapping/>
  </p:clrMapOvr>
  <p:hf hdr="0" ftr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i" type="obj" preserve="1">
  <p:cSld name="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34935" indent="-134935">
              <a:buSzPct val="120000"/>
              <a:buFont typeface="Arial" panose="020B0604020202020204" pitchFamily="34" charset="0"/>
              <a:buChar char="●"/>
              <a:defRPr/>
            </a:lvl1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15.6.2015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4DA235-7EA1-4625-B20E-92643EB613A9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ulogoplaceholder"/>
          <p:cNvSpPr txBox="1"/>
          <p:nvPr/>
        </p:nvSpPr>
        <p:spPr>
          <a:xfrm>
            <a:off x="7504325" y="31943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8" name="eulogotenplaceholder"/>
          <p:cNvSpPr txBox="1"/>
          <p:nvPr/>
        </p:nvSpPr>
        <p:spPr>
          <a:xfrm>
            <a:off x="204295" y="6201208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9" name="eukarelialogoplaceholder"/>
          <p:cNvSpPr txBox="1"/>
          <p:nvPr/>
        </p:nvSpPr>
        <p:spPr>
          <a:xfrm>
            <a:off x="7750175" y="30369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</p:spTree>
    <p:extLst>
      <p:ext uri="{BB962C8B-B14F-4D97-AF65-F5344CB8AC3E}">
        <p14:creationId xmlns:p14="http://schemas.microsoft.com/office/powerpoint/2010/main" val="3020464341"/>
      </p:ext>
    </p:extLst>
  </p:cSld>
  <p:clrMapOvr>
    <a:masterClrMapping/>
  </p:clrMapOvr>
  <p:hf hdr="0" ftr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ksipalstainen" type="twoTxTwoObj" preserve="1">
  <p:cSld name="Kaksipalsta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6000" y="417600"/>
            <a:ext cx="6624000" cy="6096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2001" y="1699201"/>
            <a:ext cx="3868340" cy="5832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b="1" i="0" baseline="0">
                <a:solidFill>
                  <a:srgbClr val="00B0C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1751" y="2282459"/>
            <a:ext cx="3849596" cy="3907207"/>
          </a:xfrm>
        </p:spPr>
        <p:txBody>
          <a:bodyPr>
            <a:normAutofit/>
          </a:bodyPr>
          <a:lstStyle>
            <a:lvl1pPr marL="92073" indent="-92073">
              <a:buSzPct val="120000"/>
              <a:buFont typeface="Arial" panose="020B0604020202020204" pitchFamily="34" charset="0"/>
              <a:buChar char="●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4" y="1699201"/>
            <a:ext cx="3887391" cy="583256"/>
          </a:xfrm>
        </p:spPr>
        <p:txBody>
          <a:bodyPr anchor="t" anchorCtr="0">
            <a:normAutofit/>
          </a:bodyPr>
          <a:lstStyle>
            <a:lvl1pPr marL="0" indent="0">
              <a:buNone/>
              <a:defRPr lang="en-US" sz="1400" b="1" kern="1200" baseline="0" dirty="0" smtClean="0">
                <a:solidFill>
                  <a:srgbClr val="00B0CA"/>
                </a:solidFill>
                <a:latin typeface="Arial" charset="0"/>
                <a:ea typeface="+mn-ea"/>
                <a:cs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B0CA"/>
              </a:buClr>
              <a:buSzPct val="140000"/>
              <a:buFont typeface="Arial" panose="020B0604020202020204" pitchFamily="34" charset="0"/>
              <a:buNone/>
            </a:pPr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4" y="2282459"/>
            <a:ext cx="3887391" cy="3907207"/>
          </a:xfrm>
        </p:spPr>
        <p:txBody>
          <a:bodyPr>
            <a:normAutofit/>
          </a:bodyPr>
          <a:lstStyle>
            <a:lvl1pPr marL="92073" indent="-92073">
              <a:buSzPct val="120000"/>
              <a:buFont typeface="Arial" panose="020B0604020202020204" pitchFamily="34" charset="0"/>
              <a:buChar char="●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15.6.2015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4DA235-7EA1-4625-B20E-92643EB613A9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eulogoplaceholder"/>
          <p:cNvSpPr txBox="1"/>
          <p:nvPr/>
        </p:nvSpPr>
        <p:spPr>
          <a:xfrm>
            <a:off x="7504325" y="31943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1" name="eulogotenplaceholder"/>
          <p:cNvSpPr txBox="1"/>
          <p:nvPr/>
        </p:nvSpPr>
        <p:spPr>
          <a:xfrm>
            <a:off x="204295" y="6201208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2" name="eukarelialogoplaceholder"/>
          <p:cNvSpPr txBox="1"/>
          <p:nvPr/>
        </p:nvSpPr>
        <p:spPr>
          <a:xfrm>
            <a:off x="7750175" y="30369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</p:spTree>
    <p:extLst>
      <p:ext uri="{BB962C8B-B14F-4D97-AF65-F5344CB8AC3E}">
        <p14:creationId xmlns:p14="http://schemas.microsoft.com/office/powerpoint/2010/main" val="1084172115"/>
      </p:ext>
    </p:extLst>
  </p:cSld>
  <p:clrMapOvr>
    <a:masterClrMapping/>
  </p:clrMapOvr>
  <p:hf hdr="0" ftr="0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i ja kaksi kuvaa" preserve="1">
  <p:cSld name="Teksi ja kaksi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6000" y="417600"/>
            <a:ext cx="6624000" cy="6096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2000" y="1784265"/>
            <a:ext cx="3618000" cy="5832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b="1" i="0" baseline="0">
                <a:solidFill>
                  <a:srgbClr val="00B0CA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1751" y="2395873"/>
            <a:ext cx="3618000" cy="3757731"/>
          </a:xfrm>
        </p:spPr>
        <p:txBody>
          <a:bodyPr>
            <a:normAutofit/>
          </a:bodyPr>
          <a:lstStyle>
            <a:lvl1pPr marL="92073" indent="-92073">
              <a:buSzPct val="120000"/>
              <a:buFont typeface="Arial" panose="020B0604020202020204" pitchFamily="34" charset="0"/>
              <a:buChar char="●"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15.6.2015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4DA235-7EA1-4625-B20E-92643EB613A9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idx="13"/>
          </p:nvPr>
        </p:nvSpPr>
        <p:spPr>
          <a:xfrm>
            <a:off x="4406400" y="1824000"/>
            <a:ext cx="4417200" cy="20592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1" name="Picture Placeholder 2"/>
          <p:cNvSpPr>
            <a:spLocks noGrp="1"/>
          </p:cNvSpPr>
          <p:nvPr>
            <p:ph type="pic" idx="14"/>
          </p:nvPr>
        </p:nvSpPr>
        <p:spPr>
          <a:xfrm>
            <a:off x="4406400" y="4075200"/>
            <a:ext cx="4417200" cy="20592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2" name="eulogoplaceholder"/>
          <p:cNvSpPr txBox="1"/>
          <p:nvPr/>
        </p:nvSpPr>
        <p:spPr>
          <a:xfrm>
            <a:off x="7504325" y="31943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3" name="eulogotenplaceholder"/>
          <p:cNvSpPr txBox="1"/>
          <p:nvPr/>
        </p:nvSpPr>
        <p:spPr>
          <a:xfrm>
            <a:off x="204295" y="6201208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4" name="eukarelialogoplaceholder"/>
          <p:cNvSpPr txBox="1"/>
          <p:nvPr/>
        </p:nvSpPr>
        <p:spPr>
          <a:xfrm>
            <a:off x="7750175" y="30369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</p:spTree>
    <p:extLst>
      <p:ext uri="{BB962C8B-B14F-4D97-AF65-F5344CB8AC3E}">
        <p14:creationId xmlns:p14="http://schemas.microsoft.com/office/powerpoint/2010/main" val="3301841614"/>
      </p:ext>
    </p:extLst>
  </p:cSld>
  <p:clrMapOvr>
    <a:masterClrMapping/>
  </p:clrMapOvr>
  <p:hf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5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4032448" cy="79208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2204865"/>
            <a:ext cx="4032448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B2005A9-E998-46D7-9B04-7189F48FF9E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iitossivu" type="title" preserve="1">
  <p:cSld name="Kiitos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0000" y="3283200"/>
            <a:ext cx="4554000" cy="609600"/>
          </a:xfrm>
        </p:spPr>
        <p:txBody>
          <a:bodyPr anchor="b">
            <a:noAutofit/>
          </a:bodyPr>
          <a:lstStyle>
            <a:lvl1pPr algn="l">
              <a:defRPr sz="2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0000" y="4224000"/>
            <a:ext cx="4518000" cy="1233600"/>
          </a:xfrm>
        </p:spPr>
        <p:txBody>
          <a:bodyPr>
            <a:normAutofit/>
          </a:bodyPr>
          <a:lstStyle>
            <a:lvl1pPr marL="0" indent="0"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1200" kern="1200" baseline="0" dirty="0">
                <a:solidFill>
                  <a:srgbClr val="00B0C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9" name="Rectangle 8"/>
          <p:cNvSpPr/>
          <p:nvPr/>
        </p:nvSpPr>
        <p:spPr>
          <a:xfrm>
            <a:off x="98613" y="83674"/>
            <a:ext cx="2095948" cy="1315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>
              <a:solidFill>
                <a:prstClr val="white"/>
              </a:solidFill>
            </a:endParaRPr>
          </a:p>
        </p:txBody>
      </p:sp>
      <p:pic>
        <p:nvPicPr>
          <p:cNvPr id="8" name="Kuva 10" descr="UUSI_Liikennevirasto_Tapahtumat_vaaka_cmyk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856" b="18364"/>
          <a:stretch/>
        </p:blipFill>
        <p:spPr>
          <a:xfrm>
            <a:off x="252002" y="163200"/>
            <a:ext cx="1009271" cy="1449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851271" y="5852160"/>
            <a:ext cx="4266000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>
              <a:solidFill>
                <a:prstClr val="white"/>
              </a:solidFill>
            </a:endParaRPr>
          </a:p>
        </p:txBody>
      </p:sp>
      <p:pic>
        <p:nvPicPr>
          <p:cNvPr id="11" name="Kuva 7" descr="Pitkät_nuolet_cmyk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42" r="-1754"/>
          <a:stretch/>
        </p:blipFill>
        <p:spPr>
          <a:xfrm rot="16200000">
            <a:off x="3549051" y="1514564"/>
            <a:ext cx="6870445" cy="3816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57906"/>
      </p:ext>
    </p:extLst>
  </p:cSld>
  <p:clrMapOvr>
    <a:masterClrMapping/>
  </p:clrMapOvr>
  <p:hf hdr="0" ftr="0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ain otsikko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15.6.2015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4DA235-7EA1-4625-B20E-92643EB613A9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ulogoplaceholder"/>
          <p:cNvSpPr txBox="1"/>
          <p:nvPr/>
        </p:nvSpPr>
        <p:spPr>
          <a:xfrm>
            <a:off x="7504325" y="31943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7" name="eulogotenplaceholder"/>
          <p:cNvSpPr txBox="1"/>
          <p:nvPr/>
        </p:nvSpPr>
        <p:spPr>
          <a:xfrm>
            <a:off x="204295" y="6201208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8" name="eukarelialogoplaceholder"/>
          <p:cNvSpPr txBox="1"/>
          <p:nvPr/>
        </p:nvSpPr>
        <p:spPr>
          <a:xfrm>
            <a:off x="7750175" y="30369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</p:spTree>
    <p:extLst>
      <p:ext uri="{BB962C8B-B14F-4D97-AF65-F5344CB8AC3E}">
        <p14:creationId xmlns:p14="http://schemas.microsoft.com/office/powerpoint/2010/main" val="3837902073"/>
      </p:ext>
    </p:extLst>
  </p:cSld>
  <p:clrMapOvr>
    <a:masterClrMapping/>
  </p:clrMapOvr>
  <p:hf hdr="0" ftr="0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yhjä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15.6.2015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4DA235-7EA1-4625-B20E-92643EB613A9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ulogoplaceholder"/>
          <p:cNvSpPr txBox="1"/>
          <p:nvPr/>
        </p:nvSpPr>
        <p:spPr>
          <a:xfrm>
            <a:off x="7504325" y="31943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6" name="eulogotenplaceholder"/>
          <p:cNvSpPr txBox="1"/>
          <p:nvPr/>
        </p:nvSpPr>
        <p:spPr>
          <a:xfrm>
            <a:off x="204295" y="6201208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7" name="eukarelialogoplaceholder"/>
          <p:cNvSpPr txBox="1"/>
          <p:nvPr/>
        </p:nvSpPr>
        <p:spPr>
          <a:xfrm>
            <a:off x="7750175" y="30369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 sz="1400" b="1" baseline="30000" dirty="0" smtClean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</p:spTree>
    <p:extLst>
      <p:ext uri="{BB962C8B-B14F-4D97-AF65-F5344CB8AC3E}">
        <p14:creationId xmlns:p14="http://schemas.microsoft.com/office/powerpoint/2010/main" val="239804923"/>
      </p:ext>
    </p:extLst>
  </p:cSld>
  <p:clrMapOvr>
    <a:masterClrMapping/>
  </p:clrMapOvr>
  <p:hf hdr="0" ftr="0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2"/>
            <a:ext cx="7776864" cy="642943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1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56352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4" y="6357940"/>
            <a:ext cx="6357937" cy="365125"/>
          </a:xfrm>
        </p:spPr>
        <p:txBody>
          <a:bodyPr/>
          <a:lstStyle/>
          <a:p>
            <a:r>
              <a:rPr lang="fi-FI" dirty="0" smtClean="0">
                <a:solidFill>
                  <a:prstClr val="black">
                    <a:tint val="75000"/>
                  </a:prstClr>
                </a:solidFill>
              </a:rPr>
              <a:t>Pohjois-Pohjanmaan elinkeino-, liikenne- ja ympäristökeskus</a:t>
            </a:r>
            <a:endParaRPr lang="fi-FI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315924"/>
      </p:ext>
    </p:extLst>
  </p:cSld>
  <p:clrMapOvr>
    <a:masterClrMapping/>
  </p:clrMapOvr>
  <p:hf hdr="0" ftr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419477" y="6381751"/>
            <a:ext cx="936625" cy="360363"/>
          </a:xfrm>
        </p:spPr>
        <p:txBody>
          <a:bodyPr/>
          <a:lstStyle>
            <a:lvl1pPr algn="ctr"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6021388"/>
            <a:ext cx="6048375" cy="360362"/>
          </a:xfrm>
        </p:spPr>
        <p:txBody>
          <a:bodyPr/>
          <a:lstStyle>
            <a:lvl1pPr algn="ctr"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, strategiayksikkö</a:t>
            </a:r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17247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4"/>
            <a:ext cx="5976664" cy="1584176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09121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77" y="6381751"/>
            <a:ext cx="936625" cy="360363"/>
          </a:xfrm>
        </p:spPr>
        <p:txBody>
          <a:bodyPr/>
          <a:lstStyle>
            <a:lvl1pPr algn="ctr"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684214" y="6021388"/>
            <a:ext cx="6048375" cy="360362"/>
          </a:xfrm>
        </p:spPr>
        <p:txBody>
          <a:bodyPr/>
          <a:lstStyle>
            <a:lvl1pPr algn="ctr"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, strategiayksikkö</a:t>
            </a:r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61220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77" y="6381751"/>
            <a:ext cx="936625" cy="360363"/>
          </a:xfrm>
        </p:spPr>
        <p:txBody>
          <a:bodyPr/>
          <a:lstStyle>
            <a:lvl1pPr algn="ctr"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684214" y="6021388"/>
            <a:ext cx="5975351" cy="360362"/>
          </a:xfrm>
        </p:spPr>
        <p:txBody>
          <a:bodyPr/>
          <a:lstStyle>
            <a:lvl1pPr algn="ctr"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, strategiayksikkö</a:t>
            </a:r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52564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649" y="6356351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38C11-BE2B-4200-AB73-9A4F4418E0E1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09756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11" descr="sosiaali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16651" y="260350"/>
            <a:ext cx="9032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Kuva 12" descr="vipuvoimaaEU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9175" y="260351"/>
            <a:ext cx="1163639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lang="fi-FI" sz="3000" dirty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F10D1-C9FE-4326-894C-3649121609A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44634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11560" y="548680"/>
            <a:ext cx="7776864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11561" y="1556792"/>
            <a:ext cx="7782695" cy="4536504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88E7F4-7D80-4DF8-B1BD-6424C986E48F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7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3" name="Platshållare för bildnummer 3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27BC1FD-6555-4985-97CD-0A56F7BC0BC8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41"/>
            <a:ext cx="7344816" cy="1470025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557544-F841-4B1C-80AC-B7D7BFB79D51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67234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F9A892-2982-430E-A282-233690C39E5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00634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A4D837-7D6B-495C-A9BA-1243F095D566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73517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1412CA-0FAE-4293-892B-860E7A912575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42986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6B8BB5-D310-42AA-81BB-61BA10636DE9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07527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blue_osa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3364" y="3933826"/>
            <a:ext cx="1290637" cy="292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FC945-3CB5-4B2D-9C0C-2B8D4695238B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32250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green_osa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74000" y="3971925"/>
            <a:ext cx="1270000" cy="287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CDF23-4E5E-4791-BE3F-10297DC6B4C6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85572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orange_osa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9714" y="3948114"/>
            <a:ext cx="1284287" cy="290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F0ECC2-0023-4E75-ACF9-5EADE1440878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18440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590465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590465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 dirty="0"/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2D0F85-8921-413C-9EB3-15F02AFDB553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58891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7"/>
            <a:ext cx="6480720" cy="49817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0"/>
            <a:ext cx="648072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4"/>
            <a:ext cx="648072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6E31AA2-47F8-4DFD-96EF-B4BC73F5C8B9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7061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2" descr="ELY_logo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428596" y="2071678"/>
            <a:ext cx="8229600" cy="1714512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10"/>
          <p:cNvSpPr>
            <a:spLocks noGrp="1"/>
          </p:cNvSpPr>
          <p:nvPr>
            <p:ph type="body" sz="quarter" idx="10"/>
          </p:nvPr>
        </p:nvSpPr>
        <p:spPr>
          <a:xfrm>
            <a:off x="2150240" y="3857626"/>
            <a:ext cx="4786312" cy="1571625"/>
          </a:xfrm>
          <a:prstGeom prst="rect">
            <a:avLst/>
          </a:prstGeom>
        </p:spPr>
        <p:txBody>
          <a:bodyPr/>
          <a:lstStyle>
            <a:lvl1pPr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9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942ED1-FF26-482F-A984-B4FB52D1F2E8}" type="datetime1">
              <a:rPr lang="fi-FI">
                <a:solidFill>
                  <a:prstClr val="white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6" name="Dian numeron paikkamerkki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6D68D0E-A56E-4223-86DD-0C3822F87919}" type="slidenum">
              <a:rPr lang="fi-FI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7" name="Alatunnisteen paikkamerkki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dirty="0">
                <a:solidFill>
                  <a:prstClr val="white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98651878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0" y="260649"/>
            <a:ext cx="8640960" cy="53285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5661248"/>
            <a:ext cx="864096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62FFE89-C733-45F6-BFBC-77132FCBCDC9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9406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8352928" cy="11430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2564904"/>
            <a:ext cx="8373616" cy="326896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3FEE0E1-4974-4BA3-BF45-866EF4A41BF8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98391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980729"/>
            <a:ext cx="8568952" cy="100811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0" y="1988841"/>
            <a:ext cx="4254624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988841"/>
            <a:ext cx="4248472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sv-SE" dirty="0" smtClean="0"/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8A1D15A-7522-4C65-B32B-4ABBAE79EBA5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13389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196753"/>
            <a:ext cx="8640960" cy="576064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0" y="1988841"/>
            <a:ext cx="4248472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0" y="2894956"/>
            <a:ext cx="4248472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08" y="1988841"/>
            <a:ext cx="4248472" cy="71177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2894956"/>
            <a:ext cx="4247455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7" name="Platshållare för sidfot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Platshållare för bildnummer 8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7BA434B-DF0E-43A3-AE57-0A7DA28EE28C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57239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5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4032448" cy="79208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2204865"/>
            <a:ext cx="4032448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B2005A9-E998-46D7-9B04-7189F48FF9E9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97488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>
                <a:solidFill>
                  <a:prstClr val="black"/>
                </a:solidFill>
              </a:rPr>
              <a:t>, strategiayksikkö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3" name="Platshållare för bildnummer 3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27BC1FD-6555-4985-97CD-0A56F7BC0BC8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62299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419477" y="6381751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3.11.2015</a:t>
            </a: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900114" y="6021388"/>
            <a:ext cx="6048375" cy="36036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Samuli Kallio</a:t>
            </a:r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461420"/>
      </p:ext>
    </p:extLst>
  </p:cSld>
  <p:clrMapOvr>
    <a:masterClrMapping/>
  </p:clrMapOvr>
  <p:hf hdr="0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4"/>
            <a:ext cx="5976664" cy="1584176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09121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77" y="6381751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3.11.2015</a:t>
            </a: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684214" y="6021388"/>
            <a:ext cx="6048375" cy="36036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Samuli Kallio</a:t>
            </a:r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934002"/>
      </p:ext>
    </p:extLst>
  </p:cSld>
  <p:clrMapOvr>
    <a:masterClrMapping/>
  </p:clrMapOvr>
  <p:hf hdr="0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77" y="6381751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3.11.2015</a:t>
            </a: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684214" y="6021388"/>
            <a:ext cx="5975351" cy="36036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Samuli Kallio</a:t>
            </a:r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382240"/>
      </p:ext>
    </p:extLst>
  </p:cSld>
  <p:clrMapOvr>
    <a:masterClrMapping/>
  </p:clrMapOvr>
  <p:hf hdr="0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649" y="6356351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8A10E4-B1DE-4AB9-BA6A-24F6C6491F80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741036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457200" y="1428736"/>
            <a:ext cx="8229600" cy="642942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i-FI" dirty="0" smtClean="0"/>
              <a:t>Muokkaa </a:t>
            </a:r>
            <a:r>
              <a:rPr lang="fi-FI" dirty="0" err="1" smtClean="0"/>
              <a:t>perustyyl</a:t>
            </a:r>
            <a:r>
              <a:rPr lang="fi-FI" dirty="0" smtClean="0"/>
              <a:t>. </a:t>
            </a:r>
            <a:r>
              <a:rPr lang="fi-FI" dirty="0" err="1" smtClean="0"/>
              <a:t>napsautt</a:t>
            </a:r>
            <a:r>
              <a:rPr lang="fi-FI" dirty="0" smtClean="0"/>
              <a:t>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471326" y="2286001"/>
            <a:ext cx="8286751" cy="2928938"/>
          </a:xfrm>
          <a:prstGeom prst="rect">
            <a:avLst/>
          </a:prstGeom>
        </p:spPr>
        <p:txBody>
          <a:bodyPr/>
          <a:lstStyle>
            <a:lvl1pPr>
              <a:buClrTx/>
              <a:buFont typeface="Wingdings" pitchFamily="2" charset="2"/>
              <a:buChar char="§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smtClean="0"/>
              <a:t>Muokkaa tekstin perustyylejä napsauttamalla</a:t>
            </a:r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0067B6-48C0-4D1E-BA9C-2B2A8A7FF7AB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>
                <a:solidFill>
                  <a:srgbClr val="58585A"/>
                </a:solidFill>
              </a:rPr>
              <a:t>Pohjois-Pohjanmaan elinkeino-, liikenne- ja ympäristökeskus</a:t>
            </a:r>
          </a:p>
        </p:txBody>
      </p:sp>
      <p:sp>
        <p:nvSpPr>
          <p:cNvPr id="8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8C5F6-6D3A-4292-B7FE-834A415A0688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7798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11" descr="sosiaali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6651" y="260350"/>
            <a:ext cx="9032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Kuva 12" descr="vipuvoimaaEU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9175" y="260351"/>
            <a:ext cx="1163639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lang="fi-FI" sz="3000" dirty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F55A3-F4CC-4F53-B74D-5C41D84C1D46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046246"/>
      </p:ext>
    </p:extLst>
  </p:cSld>
  <p:clrMapOvr>
    <a:masterClrMapping/>
  </p:clrMapOvr>
  <p:hf hdr="0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11560" y="548680"/>
            <a:ext cx="7776864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11561" y="1556792"/>
            <a:ext cx="7782695" cy="4536504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48A18F-AC8C-4A29-BA3B-0B3B59679C32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175673"/>
      </p:ext>
    </p:extLst>
  </p:cSld>
  <p:clrMapOvr>
    <a:masterClrMapping/>
  </p:clrMapOvr>
  <p:hf hdr="0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41"/>
            <a:ext cx="7344816" cy="1470025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0E1D1-53B4-4500-A065-A6197F1DBC45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469897"/>
      </p:ext>
    </p:extLst>
  </p:cSld>
  <p:clrMapOvr>
    <a:masterClrMapping/>
  </p:clrMapOvr>
  <p:hf hdr="0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30F779-ED44-4EFF-BF46-45514A03CA13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43943"/>
      </p:ext>
    </p:extLst>
  </p:cSld>
  <p:clrMapOvr>
    <a:masterClrMapping/>
  </p:clrMapOvr>
  <p:hf hdr="0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19C37E-4EC7-45FC-9FBF-445EC29727A5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037709"/>
      </p:ext>
    </p:extLst>
  </p:cSld>
  <p:clrMapOvr>
    <a:masterClrMapping/>
  </p:clrMapOvr>
  <p:hf hdr="0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D0C5E2-3C30-4BDE-8175-29B6AEF980E3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191418"/>
      </p:ext>
    </p:extLst>
  </p:cSld>
  <p:clrMapOvr>
    <a:masterClrMapping/>
  </p:clrMapOvr>
  <p:hf hdr="0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C34EDB-D9E1-4F27-8863-672F1C8B9566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596295"/>
      </p:ext>
    </p:extLst>
  </p:cSld>
  <p:clrMapOvr>
    <a:masterClrMapping/>
  </p:clrMapOvr>
  <p:hf hdr="0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blue_osa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364" y="3933826"/>
            <a:ext cx="1290637" cy="29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87B4F6-E027-4CB5-BFEE-2FDA5B711936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202897"/>
      </p:ext>
    </p:extLst>
  </p:cSld>
  <p:clrMapOvr>
    <a:masterClrMapping/>
  </p:clrMapOvr>
  <p:hf hdr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green_osa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00" y="3971925"/>
            <a:ext cx="1270000" cy="287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03298D-3630-4FD4-8953-93844F95667A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066974"/>
      </p:ext>
    </p:extLst>
  </p:cSld>
  <p:clrMapOvr>
    <a:masterClrMapping/>
  </p:clrMapOvr>
  <p:hf hdr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8" descr="sipuli_orange_osa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9714" y="3948114"/>
            <a:ext cx="1284287" cy="290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EE3563-3162-4D1F-8D71-BE9EA3E14404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026300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F61D2-48EC-4B2C-98E2-30C26855D60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>
                <a:solidFill>
                  <a:srgbClr val="58585A"/>
                </a:solidFill>
              </a:rPr>
              <a:t>Pohjois-Pohjanmaan elinkeino-, liikenne- ja ympäristökeskus</a:t>
            </a:r>
          </a:p>
        </p:txBody>
      </p:sp>
      <p:sp>
        <p:nvSpPr>
          <p:cNvPr id="6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74000-1E1A-40C1-8297-1F2432B077C0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52178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590465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590465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 dirty="0"/>
          </a:p>
        </p:txBody>
      </p:sp>
      <p:sp>
        <p:nvSpPr>
          <p:cNvPr id="5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8B4DE-6A10-412E-9352-AD528D0D468B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  <p:sp>
        <p:nvSpPr>
          <p:cNvPr id="8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628212"/>
      </p:ext>
    </p:extLst>
  </p:cSld>
  <p:clrMapOvr>
    <a:masterClrMapping/>
  </p:clrMapOvr>
  <p:hf hdr="0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7"/>
            <a:ext cx="6480720" cy="49817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0"/>
            <a:ext cx="648072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4"/>
            <a:ext cx="648072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B663E-BE5C-4809-A428-EE767A6672AD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070977"/>
      </p:ext>
    </p:extLst>
  </p:cSld>
  <p:clrMapOvr>
    <a:masterClrMapping/>
  </p:clrMapOvr>
  <p:hf hdr="0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0" y="260649"/>
            <a:ext cx="8640960" cy="53285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fi-FI" noProof="0" smtClean="0"/>
              <a:t>Lisää kuva napsauttamalla kuvaketta</a:t>
            </a:r>
            <a:endParaRPr lang="fi-FI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5661248"/>
            <a:ext cx="864096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3C7635-2995-4C90-9E8E-27D2CFD553D3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849912"/>
      </p:ext>
    </p:extLst>
  </p:cSld>
  <p:clrMapOvr>
    <a:masterClrMapping/>
  </p:clrMapOvr>
  <p:hf hdr="0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8352928" cy="11430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2564904"/>
            <a:ext cx="8373616" cy="326896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76AA7C-C477-4E31-8072-2CE21F5251F9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076437"/>
      </p:ext>
    </p:extLst>
  </p:cSld>
  <p:clrMapOvr>
    <a:masterClrMapping/>
  </p:clrMapOvr>
  <p:hf hdr="0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980729"/>
            <a:ext cx="8568952" cy="100811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0" y="1988841"/>
            <a:ext cx="4254624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988841"/>
            <a:ext cx="4248472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sv-SE" dirty="0" smtClean="0"/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6EABDE-F4C1-4757-A92A-60E5B3FCCE36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516544"/>
      </p:ext>
    </p:extLst>
  </p:cSld>
  <p:clrMapOvr>
    <a:masterClrMapping/>
  </p:clrMapOvr>
  <p:hf hdr="0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196753"/>
            <a:ext cx="8640960" cy="576064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0" y="1988841"/>
            <a:ext cx="4248472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0" y="2894956"/>
            <a:ext cx="4248472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08" y="1988841"/>
            <a:ext cx="4248472" cy="71177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2894956"/>
            <a:ext cx="4247455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7" name="Platshållare för sidfot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8" name="Platshållare för bildnummer 8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8377A1-2E61-41C5-B815-2296178881E5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456803"/>
      </p:ext>
    </p:extLst>
  </p:cSld>
  <p:clrMapOvr>
    <a:masterClrMapping/>
  </p:clrMapOvr>
  <p:hf hdr="0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5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4032448" cy="79208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2204865"/>
            <a:ext cx="4032448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Platshållare för bildnummer 6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0908DC-0652-46E8-9FCA-DA1FE0EBB6C7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169110"/>
      </p:ext>
    </p:extLst>
  </p:cSld>
  <p:clrMapOvr>
    <a:masterClrMapping/>
  </p:clrMapOvr>
  <p:hf hdr="0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3" name="Platshållare för bildnummer 3"/>
          <p:cNvSpPr>
            <a:spLocks noGrp="1"/>
          </p:cNvSpPr>
          <p:nvPr>
            <p:ph type="sldNum" sz="quarter" idx="11"/>
          </p:nvPr>
        </p:nvSpPr>
        <p:spPr>
          <a:xfrm>
            <a:off x="7772400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337693-0468-42AA-8274-59678B175CF8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487793"/>
      </p:ext>
    </p:extLst>
  </p:cSld>
  <p:clrMapOvr>
    <a:masterClrMapping/>
  </p:clrMapOvr>
  <p:hf hdr="0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i">
  <p:cSld name="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33400" y="533400"/>
            <a:ext cx="7422976" cy="6096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auto">
          <a:xfrm>
            <a:off x="533400" y="1268761"/>
            <a:ext cx="7422976" cy="504056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3.11.2015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EAC95-C507-4EEA-9608-210C6263863E}" type="slidenum">
              <a:rPr lang="fi-FI" alt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994752"/>
      </p:ext>
    </p:extLst>
  </p:cSld>
  <p:clrMapOvr>
    <a:masterClrMapping/>
  </p:clrMapOvr>
  <p:hf hdr="0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dia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5" name="Bildobjekt 9" descr="logon_sipuli2_vi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900000" y="4582800"/>
            <a:ext cx="5976000" cy="1440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7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3419477" y="6381751"/>
            <a:ext cx="936625" cy="3603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3.11.2015</a:t>
            </a:r>
            <a:endParaRPr lang="fi-FI">
              <a:solidFill>
                <a:srgbClr val="FFFFFF"/>
              </a:solidFill>
            </a:endParaRPr>
          </a:p>
        </p:txBody>
      </p:sp>
      <p:sp>
        <p:nvSpPr>
          <p:cNvPr id="8" name="Alatunnisteen paikkamerkki 13"/>
          <p:cNvSpPr>
            <a:spLocks noGrp="1"/>
          </p:cNvSpPr>
          <p:nvPr>
            <p:ph type="ftr" sz="quarter" idx="11"/>
          </p:nvPr>
        </p:nvSpPr>
        <p:spPr>
          <a:xfrm>
            <a:off x="1511301" y="6011864"/>
            <a:ext cx="471487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smtClean="0">
                <a:solidFill>
                  <a:srgbClr val="FFFFFF"/>
                </a:solidFill>
              </a:rPr>
              <a:t>Samuli Kallio</a:t>
            </a:r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106217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540FD-7EDC-493D-9A75-950BEBA9823B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3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>
                <a:solidFill>
                  <a:srgbClr val="58585A"/>
                </a:solidFill>
              </a:rPr>
              <a:t>Pohjois-Pohjanmaan elinkeino-, liikenne- ja ympäristökeskus</a:t>
            </a:r>
          </a:p>
        </p:txBody>
      </p:sp>
      <p:sp>
        <p:nvSpPr>
          <p:cNvPr id="4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855023-AAEE-465D-A5E4-F6851DAE4725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60649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457200" y="1428736"/>
            <a:ext cx="8229600" cy="642942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471326" y="2286001"/>
            <a:ext cx="8286751" cy="2928938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D183E-9413-40C2-89F0-9B99C071D89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, &lt;tekijän nimi ja osasto&gt;</a:t>
            </a:r>
          </a:p>
        </p:txBody>
      </p:sp>
      <p:sp>
        <p:nvSpPr>
          <p:cNvPr id="8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2AB6309A-074A-4941-BB6A-4135B50E1235}" type="slidenum">
              <a:rPr lang="fi-FI" altLang="fi-FI">
                <a:solidFill>
                  <a:srgbClr val="58585A"/>
                </a:solidFill>
              </a:rPr>
              <a:pPr/>
              <a:t>‹#›</a:t>
            </a:fld>
            <a:endParaRPr lang="fi-FI" altLang="fi-FI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08907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F8608D-FB2B-429C-BC53-35809675528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Lisää viraston nimi, tekijän nimi ja osasto</a:t>
            </a:r>
          </a:p>
        </p:txBody>
      </p:sp>
      <p:sp>
        <p:nvSpPr>
          <p:cNvPr id="6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89C9C2-C1AD-415A-AC26-8930BA501108}" type="slidenum">
              <a:rPr lang="fi-FI" altLang="fi-FI">
                <a:solidFill>
                  <a:srgbClr val="58585A"/>
                </a:solidFill>
              </a:rPr>
              <a:pPr/>
              <a:t>‹#›</a:t>
            </a:fld>
            <a:endParaRPr lang="fi-FI" altLang="fi-FI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2789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2" descr="ELY_logo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428596" y="2071678"/>
            <a:ext cx="8229600" cy="1714512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10"/>
          <p:cNvSpPr>
            <a:spLocks noGrp="1"/>
          </p:cNvSpPr>
          <p:nvPr>
            <p:ph type="body" sz="quarter" idx="10"/>
          </p:nvPr>
        </p:nvSpPr>
        <p:spPr>
          <a:xfrm>
            <a:off x="2150240" y="3857626"/>
            <a:ext cx="4786312" cy="1571625"/>
          </a:xfrm>
          <a:prstGeom prst="rect">
            <a:avLst/>
          </a:prstGeom>
        </p:spPr>
        <p:txBody>
          <a:bodyPr/>
          <a:lstStyle>
            <a:lvl1pPr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9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942ED1-FF26-482F-A984-B4FB52D1F2E8}" type="datetime1">
              <a:rPr lang="fi-FI">
                <a:solidFill>
                  <a:srgbClr val="FFFFFF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6" name="Dian numeron paikkamerkki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6D68D0E-A56E-4223-86DD-0C3822F87919}" type="slidenum">
              <a:rPr lang="fi-FI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7" name="Alatunnisteen paikkamerkki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>
                <a:solidFill>
                  <a:srgbClr val="FFFFFF"/>
                </a:solidFill>
              </a:rPr>
              <a:t>Pohjois-Pohjanmaan elinkeino-, liikenne- ja ympäristökeskus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2337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457200" y="1428736"/>
            <a:ext cx="8229600" cy="642942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i-FI" dirty="0" smtClean="0"/>
              <a:t>Muokkaa </a:t>
            </a:r>
            <a:r>
              <a:rPr lang="fi-FI" dirty="0" err="1" smtClean="0"/>
              <a:t>perustyyl</a:t>
            </a:r>
            <a:r>
              <a:rPr lang="fi-FI" dirty="0" smtClean="0"/>
              <a:t>. </a:t>
            </a:r>
            <a:r>
              <a:rPr lang="fi-FI" dirty="0" err="1" smtClean="0"/>
              <a:t>napsautt</a:t>
            </a:r>
            <a:r>
              <a:rPr lang="fi-FI" dirty="0" smtClean="0"/>
              <a:t>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471326" y="2286001"/>
            <a:ext cx="8286751" cy="2928938"/>
          </a:xfrm>
          <a:prstGeom prst="rect">
            <a:avLst/>
          </a:prstGeom>
        </p:spPr>
        <p:txBody>
          <a:bodyPr/>
          <a:lstStyle>
            <a:lvl1pPr>
              <a:buClrTx/>
              <a:buFont typeface="Wingdings" pitchFamily="2" charset="2"/>
              <a:buChar char="§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smtClean="0"/>
              <a:t>Muokkaa tekstin perustyylejä napsauttamalla</a:t>
            </a:r>
          </a:p>
        </p:txBody>
      </p:sp>
      <p:sp>
        <p:nvSpPr>
          <p:cNvPr id="8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8C5F6-6D3A-4292-B7FE-834A415A0688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67318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46090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F61D2-48EC-4B2C-98E2-30C26855D604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74000-1E1A-40C1-8297-1F2432B077C0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44287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540FD-7EDC-493D-9A75-950BEBA9823B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3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4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855023-AAEE-465D-A5E4-F6851DAE4725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0401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Otsikko, teksti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05184-1591-4E0E-9FD7-FF5C051A01D6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4EE295-F1F3-40F8-AA2A-4CCF08AF9DF1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5830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5983D-B051-4687-BBB7-98548CC761A4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4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5917B-B201-48AC-A235-639D67580DEA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46298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D0945-BDF6-4F9C-8B08-0E1E99D5D1FD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55E9A-67D2-4126-A96F-CFC3FAABED2A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5613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Otsikko, teksti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05184-1591-4E0E-9FD7-FF5C051A01D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>
                <a:solidFill>
                  <a:srgbClr val="58585A"/>
                </a:solidFill>
              </a:rPr>
              <a:t>Pohjois-Pohjanmaan elinkeino-, liikenne- ja ympäristökeskus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4EE295-F1F3-40F8-AA2A-4CCF08AF9DF1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25574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2" descr="ELY_logo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428596" y="2071678"/>
            <a:ext cx="8229600" cy="1714512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10"/>
          <p:cNvSpPr>
            <a:spLocks noGrp="1"/>
          </p:cNvSpPr>
          <p:nvPr>
            <p:ph type="body" sz="quarter" idx="10"/>
          </p:nvPr>
        </p:nvSpPr>
        <p:spPr>
          <a:xfrm>
            <a:off x="2150240" y="3857626"/>
            <a:ext cx="4786312" cy="1571625"/>
          </a:xfrm>
          <a:prstGeom prst="rect">
            <a:avLst/>
          </a:prstGeom>
        </p:spPr>
        <p:txBody>
          <a:bodyPr/>
          <a:lstStyle>
            <a:lvl1pPr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9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942ED1-FF26-482F-A984-B4FB52D1F2E8}" type="datetime1">
              <a:rPr lang="fi-FI">
                <a:solidFill>
                  <a:srgbClr val="FFFFFF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6" name="Dian numeron paikkamerkki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6D68D0E-A56E-4223-86DD-0C3822F87919}" type="slidenum">
              <a:rPr lang="fi-FI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7" name="Alatunnisteen paikkamerkki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>
                <a:solidFill>
                  <a:srgbClr val="FFFFFF"/>
                </a:solidFill>
              </a:rPr>
              <a:t>Pohjois-Pohjanmaan elinkeino-, liikenne- ja ympäristökeskus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65085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457200" y="1428736"/>
            <a:ext cx="8229600" cy="642942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i-FI" dirty="0" smtClean="0"/>
              <a:t>Muokkaa </a:t>
            </a:r>
            <a:r>
              <a:rPr lang="fi-FI" dirty="0" err="1" smtClean="0"/>
              <a:t>perustyyl</a:t>
            </a:r>
            <a:r>
              <a:rPr lang="fi-FI" dirty="0" smtClean="0"/>
              <a:t>. </a:t>
            </a:r>
            <a:r>
              <a:rPr lang="fi-FI" dirty="0" err="1" smtClean="0"/>
              <a:t>napsautt</a:t>
            </a:r>
            <a:r>
              <a:rPr lang="fi-FI" dirty="0" smtClean="0"/>
              <a:t>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471326" y="2286001"/>
            <a:ext cx="8286751" cy="2928938"/>
          </a:xfrm>
          <a:prstGeom prst="rect">
            <a:avLst/>
          </a:prstGeom>
        </p:spPr>
        <p:txBody>
          <a:bodyPr/>
          <a:lstStyle>
            <a:lvl1pPr>
              <a:buClrTx/>
              <a:buFont typeface="Wingdings" pitchFamily="2" charset="2"/>
              <a:buChar char="§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smtClean="0"/>
              <a:t>Muokkaa tekstin perustyylejä napsauttamalla</a:t>
            </a:r>
          </a:p>
        </p:txBody>
      </p:sp>
      <p:sp>
        <p:nvSpPr>
          <p:cNvPr id="8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8C5F6-6D3A-4292-B7FE-834A415A0688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54612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F61D2-48EC-4B2C-98E2-30C26855D604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74000-1E1A-40C1-8297-1F2432B077C0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45369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540FD-7EDC-493D-9A75-950BEBA9823B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3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4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855023-AAEE-465D-A5E4-F6851DAE4725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41464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Otsikko, teksti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05184-1591-4E0E-9FD7-FF5C051A01D6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4EE295-F1F3-40F8-AA2A-4CCF08AF9DF1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39453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5983D-B051-4687-BBB7-98548CC761A4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4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5917B-B201-48AC-A235-639D67580DEA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87878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D0945-BDF6-4F9C-8B08-0E1E99D5D1FD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55E9A-67D2-4126-A96F-CFC3FAABED2A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0586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419872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899592" y="6021288"/>
            <a:ext cx="6048672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srgbClr val="FFFFFF"/>
                </a:solidFill>
              </a:rPr>
              <a:t>Pohjois-Pohjanmaan elinkeino-, liikenne- ja ympäristökeskus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99866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4"/>
            <a:ext cx="5976664" cy="1584176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09121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203848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683568" y="6021288"/>
            <a:ext cx="6048672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srgbClr val="FFFFFF"/>
                </a:solidFill>
              </a:rPr>
              <a:t>Pohjois-Pohjanmaan elinkeino-, liikenne- ja ympäristökeskus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50262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203848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683568" y="6021288"/>
            <a:ext cx="597666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srgbClr val="FFFFFF"/>
                </a:solidFill>
              </a:rPr>
              <a:t>Pohjois-Pohjanmaan elinkeino-, liikenne- ja ympäristökeskus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3246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5983D-B051-4687-BBB7-98548CC761A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4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>
                <a:solidFill>
                  <a:srgbClr val="58585A"/>
                </a:solidFill>
              </a:rPr>
              <a:t>Pohjois-Pohjanmaan elinkeino-, liikenne- ja ympäristökeskus</a:t>
            </a:r>
          </a:p>
        </p:txBody>
      </p:sp>
      <p:sp>
        <p:nvSpPr>
          <p:cNvPr id="5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5917B-B201-48AC-A235-639D67580DEA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39103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56351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16234980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lang="fi-FI" sz="3000" dirty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pic>
        <p:nvPicPr>
          <p:cNvPr id="10" name="Kuva 11" descr="sosiaali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16279" y="260350"/>
            <a:ext cx="903287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Kuva 12" descr="vipuvoimaaEU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8804" y="260351"/>
            <a:ext cx="1163637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5844924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11560" y="548680"/>
            <a:ext cx="7776864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11561" y="1556792"/>
            <a:ext cx="7782695" cy="4536504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131215632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41"/>
            <a:ext cx="7344816" cy="1470025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46037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Dian numeron paikkamerkki 9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76146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412138198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351965410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393564631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pic>
        <p:nvPicPr>
          <p:cNvPr id="8" name="Kuva 7" descr="sipuli_blue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53361" y="3933057"/>
            <a:ext cx="1290641" cy="292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46848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pic>
        <p:nvPicPr>
          <p:cNvPr id="11" name="Kuva 10" descr="sipuli_green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73506" y="3971240"/>
            <a:ext cx="1270495" cy="2879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559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D0945-BDF6-4F9C-8B08-0E1E99D5D1FD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>
                <a:solidFill>
                  <a:srgbClr val="58585A"/>
                </a:solidFill>
              </a:rPr>
              <a:t>Pohjois-Pohjanmaan elinkeino-, liikenne- ja ympäristökeskus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55E9A-67D2-4126-A96F-CFC3FAABED2A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94910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pic>
        <p:nvPicPr>
          <p:cNvPr id="8" name="Kuva 7" descr="sipuli_orange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60266" y="3948708"/>
            <a:ext cx="1283735" cy="290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5830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590465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590465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dirty="0" smtClean="0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4919421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7"/>
            <a:ext cx="6480720" cy="49817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0"/>
            <a:ext cx="648072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dirty="0" smtClean="0"/>
              <a:t>Lisää kuva napsauttamalla kuvaketta</a:t>
            </a:r>
            <a:endParaRPr lang="fi-FI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4"/>
            <a:ext cx="648072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01026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0" y="260649"/>
            <a:ext cx="8640960" cy="53285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dirty="0" smtClean="0"/>
              <a:t>Lisää kuva napsauttamalla kuvaketta</a:t>
            </a:r>
            <a:endParaRPr lang="fi-FI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5661248"/>
            <a:ext cx="864096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3057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8352928" cy="11430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2564904"/>
            <a:ext cx="8373616" cy="326896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94011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980729"/>
            <a:ext cx="8568952" cy="100811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0" y="1988841"/>
            <a:ext cx="4254624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988841"/>
            <a:ext cx="4248472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sv-SE" dirty="0" smtClean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96901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196753"/>
            <a:ext cx="8640960" cy="576064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0" y="1988841"/>
            <a:ext cx="4248472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0" y="2894956"/>
            <a:ext cx="4248472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08" y="1988841"/>
            <a:ext cx="4248472" cy="71177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2894956"/>
            <a:ext cx="4247455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27394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5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4032448" cy="79208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2204865"/>
            <a:ext cx="4032448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7958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08689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89" indent="0" algn="ctr">
              <a:buNone/>
              <a:defRPr/>
            </a:lvl2pPr>
            <a:lvl3pPr marL="914378" indent="0" algn="ctr">
              <a:buNone/>
              <a:defRPr/>
            </a:lvl3pPr>
            <a:lvl4pPr marL="1371566" indent="0" algn="ctr">
              <a:buNone/>
              <a:defRPr/>
            </a:lvl4pPr>
            <a:lvl5pPr marL="1828754" indent="0" algn="ctr">
              <a:buNone/>
              <a:defRPr/>
            </a:lvl5pPr>
            <a:lvl6pPr marL="2285943" indent="0" algn="ctr">
              <a:buNone/>
              <a:defRPr/>
            </a:lvl6pPr>
            <a:lvl7pPr marL="2743132" indent="0" algn="ctr">
              <a:buNone/>
              <a:defRPr/>
            </a:lvl7pPr>
            <a:lvl8pPr marL="3200320" indent="0" algn="ctr">
              <a:buNone/>
              <a:defRPr/>
            </a:lvl8pPr>
            <a:lvl9pPr marL="3657509" indent="0" algn="ctr">
              <a:buNone/>
              <a:defRPr/>
            </a:lvl9pPr>
          </a:lstStyle>
          <a:p>
            <a:r>
              <a:rPr lang="fi-FI" smtClean="0"/>
              <a:t>Muokkaa alaotsikon perustyyliä napsautt.</a:t>
            </a:r>
            <a:endParaRPr lang="fi-F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10E9B-3470-4F66-A6A4-4672E067BFFC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0667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/>
          </a:p>
        </p:txBody>
      </p:sp>
      <p:pic>
        <p:nvPicPr>
          <p:cNvPr id="5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977" y="1557339"/>
            <a:ext cx="1851025" cy="47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1"/>
          </p:nvPr>
        </p:nvSpPr>
        <p:spPr>
          <a:xfrm>
            <a:off x="3203577" y="6381751"/>
            <a:ext cx="936625" cy="360363"/>
          </a:xfrm>
        </p:spPr>
        <p:txBody>
          <a:bodyPr/>
          <a:lstStyle>
            <a:lvl1pPr algn="ctr"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684214" y="6021388"/>
            <a:ext cx="5975351" cy="360362"/>
          </a:xfrm>
        </p:spPr>
        <p:txBody>
          <a:bodyPr/>
          <a:lstStyle>
            <a:lvl1pPr algn="ctr"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prstClr val="white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419872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899592" y="6021288"/>
            <a:ext cx="6048672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prstClr val="white"/>
                </a:solidFill>
              </a:rPr>
              <a:t>Pohjois-Pohjanmaan elinkeino-, liikenne- ja ympäristökeskus</a:t>
            </a:r>
            <a:endParaRPr lang="fi-FI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70457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87EE0D-75B8-431D-9D47-15459E9EFEC3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36749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89" indent="0">
              <a:buNone/>
              <a:defRPr sz="1800"/>
            </a:lvl2pPr>
            <a:lvl3pPr marL="914378" indent="0">
              <a:buNone/>
              <a:defRPr sz="1600"/>
            </a:lvl3pPr>
            <a:lvl4pPr marL="1371566" indent="0">
              <a:buNone/>
              <a:defRPr sz="1400"/>
            </a:lvl4pPr>
            <a:lvl5pPr marL="1828754" indent="0">
              <a:buNone/>
              <a:defRPr sz="1400"/>
            </a:lvl5pPr>
            <a:lvl6pPr marL="2285943" indent="0">
              <a:buNone/>
              <a:defRPr sz="1400"/>
            </a:lvl6pPr>
            <a:lvl7pPr marL="2743132" indent="0">
              <a:buNone/>
              <a:defRPr sz="1400"/>
            </a:lvl7pPr>
            <a:lvl8pPr marL="3200320" indent="0">
              <a:buNone/>
              <a:defRPr sz="1400"/>
            </a:lvl8pPr>
            <a:lvl9pPr marL="3657509" indent="0">
              <a:buNone/>
              <a:defRPr sz="14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E072C-59EE-4F9F-B53A-DA75E4E9775E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22339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537CA1-7B1F-4EDE-81CB-C71C1512DC23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2060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E6953B-AC14-4D9D-B535-8D83536C6C9D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3209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DA0F67-047E-4E11-9C69-B7250E335020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41830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A965E8-2107-43DD-86EA-06A33448B60A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401705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6F550D-59E3-49B6-B257-40809A3E296D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03327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470FD7-8C9D-4B17-B31C-F101089CB580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005495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91C44-D420-46AF-BFE0-DE6D6E4321D6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31716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480610-F8D4-4ACE-B644-9ABB5C5ACAA9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0743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 smtClean="0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9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7379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Otsikko, teksti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3BCD4F-2F41-4A41-B05A-BC1AC94FE7A1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78551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Otsikko, teksti ja 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2"/>
          </p:nvPr>
        </p:nvSpPr>
        <p:spPr>
          <a:xfrm>
            <a:off x="4648200" y="1600201"/>
            <a:ext cx="4038600" cy="21859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3"/>
          </p:nvPr>
        </p:nvSpPr>
        <p:spPr>
          <a:xfrm>
            <a:off x="4648200" y="3938589"/>
            <a:ext cx="4038600" cy="218757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822DBA-5451-4E9F-AD93-52617BE4C69A}" type="slidenum">
              <a:rPr lang="fi-FI" altLang="fi-FI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2724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013032"/>
            <a:ext cx="6858000" cy="2387600"/>
          </a:xfrm>
        </p:spPr>
        <p:txBody>
          <a:bodyPr anchor="b"/>
          <a:lstStyle>
            <a:lvl1pPr algn="ctr">
              <a:defRPr sz="4500">
                <a:solidFill>
                  <a:schemeClr val="bg2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701431"/>
            <a:ext cx="6858000" cy="900388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603" y="5238000"/>
            <a:ext cx="1596951" cy="10800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863844" y="7884161"/>
            <a:ext cx="184731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fi-FI" sz="1013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91004" y="7721601"/>
            <a:ext cx="184731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fi-FI" sz="1013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824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1" y="529949"/>
            <a:ext cx="7203017" cy="995915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25865"/>
            <a:ext cx="7886700" cy="444736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>
                <a:solidFill>
                  <a:srgbClr val="D5B37A"/>
                </a:solidFill>
              </a:rPr>
              <a:pPr/>
              <a:t>1.9.2016</a:t>
            </a:fld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D5B37A"/>
                </a:solidFill>
              </a:rPr>
              <a:t>Työ- ja elinkeinoministeriö </a:t>
            </a:r>
            <a:r>
              <a:rPr lang="bg-BG" smtClean="0">
                <a:solidFill>
                  <a:srgbClr val="D5B37A"/>
                </a:solidFill>
              </a:rPr>
              <a:t>•</a:t>
            </a:r>
            <a:r>
              <a:rPr lang="fi-FI" smtClean="0">
                <a:solidFill>
                  <a:srgbClr val="D5B37A"/>
                </a:solidFill>
              </a:rPr>
              <a:t> www.tem.fi</a:t>
            </a:r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>
                <a:solidFill>
                  <a:srgbClr val="D5B37A"/>
                </a:solidFill>
              </a:rPr>
              <a:pPr/>
              <a:t>‹#›</a:t>
            </a:fld>
            <a:endParaRPr lang="fi-FI">
              <a:solidFill>
                <a:srgbClr val="D5B37A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33" y="739907"/>
            <a:ext cx="288358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6467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3748">
          <p15:clr>
            <a:srgbClr val="FBAE40"/>
          </p15:clr>
        </p15:guide>
        <p15:guide id="4294967295" pos="385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529949"/>
            <a:ext cx="7201826" cy="995915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525865"/>
            <a:ext cx="3868340" cy="619017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287349"/>
            <a:ext cx="3868340" cy="3685884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3" y="1525865"/>
            <a:ext cx="3887391" cy="619017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3" y="2144881"/>
            <a:ext cx="3887391" cy="3828352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78301-0B2F-DD49-84BB-AA91E35A26A2}" type="datetime1">
              <a:rPr lang="fi-FI" smtClean="0">
                <a:solidFill>
                  <a:srgbClr val="D5B37A"/>
                </a:solidFill>
              </a:rPr>
              <a:pPr/>
              <a:t>1.9.2016</a:t>
            </a:fld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D5B37A"/>
                </a:solidFill>
              </a:rPr>
              <a:t>Työ- ja elinkeinoministeriö </a:t>
            </a:r>
            <a:r>
              <a:rPr lang="bg-BG" smtClean="0">
                <a:solidFill>
                  <a:srgbClr val="D5B37A"/>
                </a:solidFill>
              </a:rPr>
              <a:t>•</a:t>
            </a:r>
            <a:r>
              <a:rPr lang="fi-FI" smtClean="0">
                <a:solidFill>
                  <a:srgbClr val="D5B37A"/>
                </a:solidFill>
              </a:rPr>
              <a:t> www.tem.fi</a:t>
            </a:r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>
                <a:solidFill>
                  <a:srgbClr val="D5B37A"/>
                </a:solidFill>
              </a:rPr>
              <a:pPr/>
              <a:t>‹#›</a:t>
            </a:fld>
            <a:endParaRPr lang="fi-FI">
              <a:solidFill>
                <a:srgbClr val="D5B37A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33" y="739907"/>
            <a:ext cx="288358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6458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5">
          <p15:clr>
            <a:srgbClr val="FBAE40"/>
          </p15:clr>
        </p15:guide>
        <p15:guide id="4294967295" orient="horz" pos="3748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529949"/>
            <a:ext cx="7201826" cy="995915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525865"/>
            <a:ext cx="7885508" cy="619017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35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287349"/>
            <a:ext cx="7885508" cy="3685884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485DFD-2799-7041-80D0-99A07D09A2CA}" type="datetime1">
              <a:rPr lang="fi-FI" smtClean="0">
                <a:solidFill>
                  <a:srgbClr val="D5B37A"/>
                </a:solidFill>
              </a:rPr>
              <a:pPr/>
              <a:t>1.9.2016</a:t>
            </a:fld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D5B37A"/>
                </a:solidFill>
              </a:rPr>
              <a:t>Työ- ja elinkeinoministeriö </a:t>
            </a:r>
            <a:r>
              <a:rPr lang="bg-BG" smtClean="0">
                <a:solidFill>
                  <a:srgbClr val="D5B37A"/>
                </a:solidFill>
              </a:rPr>
              <a:t>•</a:t>
            </a:r>
            <a:r>
              <a:rPr lang="fi-FI" smtClean="0">
                <a:solidFill>
                  <a:srgbClr val="D5B37A"/>
                </a:solidFill>
              </a:rPr>
              <a:t> www.tem.fi</a:t>
            </a:r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>
                <a:solidFill>
                  <a:srgbClr val="D5B37A"/>
                </a:solidFill>
              </a:rPr>
              <a:pPr/>
              <a:t>‹#›</a:t>
            </a:fld>
            <a:endParaRPr lang="fi-FI">
              <a:solidFill>
                <a:srgbClr val="D5B37A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33" y="739907"/>
            <a:ext cx="288358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368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pos="385">
          <p15:clr>
            <a:srgbClr val="FBAE40"/>
          </p15:clr>
        </p15:guide>
        <p15:guide id="4294967295" orient="horz" pos="3748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218D1-828F-624F-B233-BF7AD71CC7E8}" type="datetime1">
              <a:rPr lang="fi-FI" smtClean="0">
                <a:solidFill>
                  <a:srgbClr val="D5B37A"/>
                </a:solidFill>
              </a:rPr>
              <a:pPr/>
              <a:t>1.9.2016</a:t>
            </a:fld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D5B37A"/>
                </a:solidFill>
              </a:rPr>
              <a:t>Työ- ja elinkeinoministeriö </a:t>
            </a:r>
            <a:r>
              <a:rPr lang="bg-BG" smtClean="0">
                <a:solidFill>
                  <a:srgbClr val="D5B37A"/>
                </a:solidFill>
              </a:rPr>
              <a:t>•</a:t>
            </a:r>
            <a:r>
              <a:rPr lang="fi-FI" smtClean="0">
                <a:solidFill>
                  <a:srgbClr val="D5B37A"/>
                </a:solidFill>
              </a:rPr>
              <a:t> www.tem.fi</a:t>
            </a:r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5C75AB-37F2-194C-B2B6-38235384CF06}" type="slidenum">
              <a:rPr lang="fi-FI" smtClean="0">
                <a:solidFill>
                  <a:srgbClr val="D5B37A"/>
                </a:solidFill>
              </a:rPr>
              <a:pPr/>
              <a:t>‹#›</a:t>
            </a:fld>
            <a:endParaRPr lang="fi-FI">
              <a:solidFill>
                <a:srgbClr val="D5B37A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033" y="739907"/>
            <a:ext cx="288358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245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>
            <a:alphaModFix am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5096" y="595638"/>
            <a:ext cx="2834250" cy="5672727"/>
          </a:xfrm>
          <a:prstGeom prst="rect">
            <a:avLst/>
          </a:prstGeom>
        </p:spPr>
      </p:pic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116933" y="1512887"/>
            <a:ext cx="4910137" cy="3589868"/>
          </a:xfrm>
        </p:spPr>
        <p:txBody>
          <a:bodyPr lIns="90000" anchor="ctr" anchorCtr="1">
            <a:noAutofit/>
          </a:bodyPr>
          <a:lstStyle>
            <a:lvl1pPr marL="0" indent="0" algn="ctr">
              <a:buNone/>
              <a:defRPr sz="44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25253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2" descr="ELY_logo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3" y="285750"/>
            <a:ext cx="470217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428596" y="2071678"/>
            <a:ext cx="8229600" cy="1714512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10"/>
          <p:cNvSpPr>
            <a:spLocks noGrp="1"/>
          </p:cNvSpPr>
          <p:nvPr>
            <p:ph type="body" sz="quarter" idx="10"/>
          </p:nvPr>
        </p:nvSpPr>
        <p:spPr>
          <a:xfrm>
            <a:off x="2150240" y="3857625"/>
            <a:ext cx="4786312" cy="1571625"/>
          </a:xfrm>
          <a:prstGeom prst="rect">
            <a:avLst/>
          </a:prstGeom>
        </p:spPr>
        <p:txBody>
          <a:bodyPr/>
          <a:lstStyle>
            <a:lvl1pPr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9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C6A7892-2408-42A5-9E2B-D7B4776292A0}" type="datetime1">
              <a:rPr lang="fi-FI">
                <a:solidFill>
                  <a:prstClr val="white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6" name="Dian numeron paikkamerkki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0766CB-0FE0-4F25-8291-E171E26135EB}" type="slidenum">
              <a:rPr lang="fi-FI" altLang="fi-FI">
                <a:solidFill>
                  <a:prstClr val="white"/>
                </a:solidFill>
              </a:rPr>
              <a:pPr/>
              <a:t>‹#›</a:t>
            </a:fld>
            <a:endParaRPr lang="fi-FI" altLang="fi-FI">
              <a:solidFill>
                <a:prstClr val="white"/>
              </a:solidFill>
            </a:endParaRPr>
          </a:p>
        </p:txBody>
      </p:sp>
      <p:sp>
        <p:nvSpPr>
          <p:cNvPr id="7" name="Alatunnisteen paikkamerkki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>
                <a:solidFill>
                  <a:prstClr val="white"/>
                </a:solidFill>
              </a:rPr>
              <a:t>Pohjois-Pohjanmaan elinkeino-, liikenne- ja ympäristökeskus, &lt;tekijän nimi ja osasto&gt;</a:t>
            </a:r>
          </a:p>
        </p:txBody>
      </p:sp>
    </p:spTree>
    <p:extLst>
      <p:ext uri="{BB962C8B-B14F-4D97-AF65-F5344CB8AC3E}">
        <p14:creationId xmlns:p14="http://schemas.microsoft.com/office/powerpoint/2010/main" val="250664864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457200" y="1428736"/>
            <a:ext cx="8229600" cy="642942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471326" y="2286000"/>
            <a:ext cx="8286750" cy="2928938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7205B-92A8-44F2-8431-9DF84362B2FD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, &lt;tekijän nimi ja osasto&gt;</a:t>
            </a:r>
          </a:p>
        </p:txBody>
      </p:sp>
      <p:sp>
        <p:nvSpPr>
          <p:cNvPr id="8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9072CF9C-BDA0-4A77-9CC7-3E40683B0410}" type="slidenum">
              <a:rPr lang="fi-FI" altLang="fi-FI">
                <a:solidFill>
                  <a:srgbClr val="58585A"/>
                </a:solidFill>
              </a:rPr>
              <a:pPr/>
              <a:t>‹#›</a:t>
            </a:fld>
            <a:endParaRPr lang="fi-FI" altLang="fi-FI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2406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419872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899592" y="6021288"/>
            <a:ext cx="6048672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srgbClr val="FFFFFF"/>
                </a:solidFill>
              </a:rPr>
              <a:t>Pohjois-Pohjanmaan elinkeino-, liikenne- ja ympäristökeskus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9310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4"/>
            <a:ext cx="5976664" cy="1584176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09121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203848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683568" y="6021288"/>
            <a:ext cx="6048672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srgbClr val="FFFFFF"/>
                </a:solidFill>
              </a:rPr>
              <a:t>Pohjois-Pohjanmaan elinkeino-, liikenne- ja ympäristökeskus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815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203848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683568" y="6021288"/>
            <a:ext cx="597666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srgbClr val="FFFFFF"/>
                </a:solidFill>
              </a:rPr>
              <a:t>Pohjois-Pohjanmaan elinkeino-, liikenne- ja ympäristökeskus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1808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56351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27336899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lang="fi-FI" sz="3000" dirty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pic>
        <p:nvPicPr>
          <p:cNvPr id="10" name="Kuva 11" descr="sosiaali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16279" y="260350"/>
            <a:ext cx="903287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Kuva 12" descr="vipuvoimaaEU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8804" y="260351"/>
            <a:ext cx="1163637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587232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11560" y="548680"/>
            <a:ext cx="7776864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11561" y="1556792"/>
            <a:ext cx="7782695" cy="4536504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34683572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41"/>
            <a:ext cx="7344816" cy="1470025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35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Dian numeron paikkamerkki 9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1507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649" y="6356351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38C11-BE2B-4200-AB73-9A4F4418E0E1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3551082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18341449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</p:spTree>
    <p:extLst>
      <p:ext uri="{BB962C8B-B14F-4D97-AF65-F5344CB8AC3E}">
        <p14:creationId xmlns:p14="http://schemas.microsoft.com/office/powerpoint/2010/main" val="26933058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pic>
        <p:nvPicPr>
          <p:cNvPr id="8" name="Kuva 7" descr="sipuli_blue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53361" y="3933057"/>
            <a:ext cx="1290641" cy="292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3718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pic>
        <p:nvPicPr>
          <p:cNvPr id="11" name="Kuva 10" descr="sipuli_green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73506" y="3971240"/>
            <a:ext cx="1270495" cy="2879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665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26469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26469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pic>
        <p:nvPicPr>
          <p:cNvPr id="8" name="Kuva 7" descr="sipuli_orange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60266" y="3948708"/>
            <a:ext cx="1283735" cy="290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4361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590465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590465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dirty="0" smtClean="0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5016614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7"/>
            <a:ext cx="6480720" cy="49817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0"/>
            <a:ext cx="648072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dirty="0" smtClean="0"/>
              <a:t>Lisää kuva napsauttamalla kuvaketta</a:t>
            </a:r>
            <a:endParaRPr lang="fi-FI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4"/>
            <a:ext cx="648072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2390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0" y="260649"/>
            <a:ext cx="8640960" cy="53285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dirty="0" smtClean="0"/>
              <a:t>Lisää kuva napsauttamalla kuvaketta</a:t>
            </a:r>
            <a:endParaRPr lang="fi-FI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5661248"/>
            <a:ext cx="864096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081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 otsikko ja sisältölok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8352928" cy="11430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2564904"/>
            <a:ext cx="8373616" cy="326896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328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11" descr="sosiaali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16651" y="260350"/>
            <a:ext cx="9032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Kuva 12" descr="vipuvoimaaEU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9175" y="260351"/>
            <a:ext cx="1163639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lang="fi-FI" sz="3000" dirty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F10D1-C9FE-4326-894C-3649121609A4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 Otsikko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980729"/>
            <a:ext cx="8568952" cy="100811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251520" y="1988841"/>
            <a:ext cx="4254624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0" y="1988841"/>
            <a:ext cx="4248472" cy="432048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sv-SE" dirty="0" smtClean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0177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 Otsikot ja kaksi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196753"/>
            <a:ext cx="8640960" cy="576064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520" y="1988841"/>
            <a:ext cx="4248472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251520" y="2894956"/>
            <a:ext cx="4248472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buClr>
                <a:schemeClr val="accent6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4008" y="1988841"/>
            <a:ext cx="4248472" cy="71177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2894956"/>
            <a:ext cx="4247455" cy="3414365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3798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5_ Otsikko ja kaksi erikokoista  sisältöloker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1520" y="1268760"/>
            <a:ext cx="4032448" cy="79208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0" y="404666"/>
            <a:ext cx="4320480" cy="576064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defRPr sz="2200"/>
            </a:lvl1pPr>
            <a:lvl2pPr>
              <a:defRPr sz="2200"/>
            </a:lvl2pPr>
            <a:lvl3pPr>
              <a:buClr>
                <a:schemeClr val="accent6"/>
              </a:buCl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2204865"/>
            <a:ext cx="4032448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1739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7772349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9678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2" descr="ELY_logo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428596" y="2071678"/>
            <a:ext cx="8229600" cy="1714512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10"/>
          <p:cNvSpPr>
            <a:spLocks noGrp="1"/>
          </p:cNvSpPr>
          <p:nvPr>
            <p:ph type="body" sz="quarter" idx="10"/>
          </p:nvPr>
        </p:nvSpPr>
        <p:spPr>
          <a:xfrm>
            <a:off x="2150240" y="3857626"/>
            <a:ext cx="4786312" cy="1571625"/>
          </a:xfrm>
          <a:prstGeom prst="rect">
            <a:avLst/>
          </a:prstGeom>
        </p:spPr>
        <p:txBody>
          <a:bodyPr/>
          <a:lstStyle>
            <a:lvl1pPr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9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942ED1-FF26-482F-A984-B4FB52D1F2E8}" type="datetime1">
              <a:rPr lang="fi-FI">
                <a:solidFill>
                  <a:prstClr val="white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6" name="Dian numeron paikkamerkki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6D68D0E-A56E-4223-86DD-0C3822F87919}" type="slidenum">
              <a:rPr lang="fi-FI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7" name="Alatunnisteen paikkamerkki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>
                <a:solidFill>
                  <a:prstClr val="white"/>
                </a:solidFill>
              </a:rPr>
              <a:t>Pohjois-Pohjanmaan elinkeino-, liikenne- ja ympäristökeskus</a:t>
            </a:r>
            <a:endParaRPr lang="fi-FI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0771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457200" y="1428736"/>
            <a:ext cx="8229600" cy="642942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i-FI" dirty="0" smtClean="0"/>
              <a:t>Muokkaa </a:t>
            </a:r>
            <a:r>
              <a:rPr lang="fi-FI" dirty="0" err="1" smtClean="0"/>
              <a:t>perustyyl</a:t>
            </a:r>
            <a:r>
              <a:rPr lang="fi-FI" dirty="0" smtClean="0"/>
              <a:t>. </a:t>
            </a:r>
            <a:r>
              <a:rPr lang="fi-FI" dirty="0" err="1" smtClean="0"/>
              <a:t>napsautt</a:t>
            </a:r>
            <a:r>
              <a:rPr lang="fi-FI" dirty="0" smtClean="0"/>
              <a:t>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471326" y="2286001"/>
            <a:ext cx="8286751" cy="2928938"/>
          </a:xfrm>
          <a:prstGeom prst="rect">
            <a:avLst/>
          </a:prstGeom>
        </p:spPr>
        <p:txBody>
          <a:bodyPr/>
          <a:lstStyle>
            <a:lvl1pPr>
              <a:buClrTx/>
              <a:buFont typeface="Wingdings" pitchFamily="2" charset="2"/>
              <a:buChar char="§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smtClean="0"/>
              <a:t>Muokkaa tekstin perustyylejä napsauttamalla</a:t>
            </a:r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0067B6-48C0-4D1E-BA9C-2B2A8A7FF7AB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8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8C5F6-6D3A-4292-B7FE-834A415A0688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9503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F61D2-48EC-4B2C-98E2-30C26855D60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74000-1E1A-40C1-8297-1F2432B077C0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6419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540FD-7EDC-493D-9A75-950BEBA9823B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3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4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855023-AAEE-465D-A5E4-F6851DAE4725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2394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Otsikko, teksti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05184-1591-4E0E-9FD7-FF5C051A01D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4EE295-F1F3-40F8-AA2A-4CCF08AF9DF1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368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5983D-B051-4687-BBB7-98548CC761A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4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5917B-B201-48AC-A235-639D67580DEA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2005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11560" y="548680"/>
            <a:ext cx="7776864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11561" y="1556792"/>
            <a:ext cx="7782695" cy="4536504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88E7F4-7D80-4DF8-B1BD-6424C986E48F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D0945-BDF6-4F9C-8B08-0E1E99D5D1FD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55E9A-67D2-4126-A96F-CFC3FAABED2A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021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2" descr="ELY_logo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428596" y="2071678"/>
            <a:ext cx="8229600" cy="1714512"/>
          </a:xfrm>
          <a:prstGeom prst="rect">
            <a:avLst/>
          </a:prstGeo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10"/>
          <p:cNvSpPr>
            <a:spLocks noGrp="1"/>
          </p:cNvSpPr>
          <p:nvPr>
            <p:ph type="body" sz="quarter" idx="10"/>
          </p:nvPr>
        </p:nvSpPr>
        <p:spPr>
          <a:xfrm>
            <a:off x="2150240" y="3857626"/>
            <a:ext cx="4786312" cy="1571625"/>
          </a:xfrm>
          <a:prstGeom prst="rect">
            <a:avLst/>
          </a:prstGeom>
        </p:spPr>
        <p:txBody>
          <a:bodyPr/>
          <a:lstStyle>
            <a:lvl1pPr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9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A942ED1-FF26-482F-A984-B4FB52D1F2E8}" type="datetime1">
              <a:rPr lang="fi-FI">
                <a:solidFill>
                  <a:prstClr val="white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6" name="Dian numeron paikkamerkki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6D68D0E-A56E-4223-86DD-0C3822F87919}" type="slidenum">
              <a:rPr lang="fi-FI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7" name="Alatunnisteen paikkamerkki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i-FI">
                <a:solidFill>
                  <a:prstClr val="white"/>
                </a:solidFill>
              </a:rPr>
              <a:t>Pohjois-Pohjanmaan elinkeino-, liikenne- ja ympäristökeskus</a:t>
            </a:r>
            <a:endParaRPr lang="fi-FI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124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457200" y="1428736"/>
            <a:ext cx="8229600" cy="642942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i-FI" dirty="0" smtClean="0"/>
              <a:t>Muokkaa </a:t>
            </a:r>
            <a:r>
              <a:rPr lang="fi-FI" dirty="0" err="1" smtClean="0"/>
              <a:t>perustyyl</a:t>
            </a:r>
            <a:r>
              <a:rPr lang="fi-FI" dirty="0" smtClean="0"/>
              <a:t>. </a:t>
            </a:r>
            <a:r>
              <a:rPr lang="fi-FI" dirty="0" err="1" smtClean="0"/>
              <a:t>napsautt</a:t>
            </a:r>
            <a:r>
              <a:rPr lang="fi-FI" dirty="0" smtClean="0"/>
              <a:t>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471326" y="2286001"/>
            <a:ext cx="8286751" cy="2928938"/>
          </a:xfrm>
          <a:prstGeom prst="rect">
            <a:avLst/>
          </a:prstGeom>
        </p:spPr>
        <p:txBody>
          <a:bodyPr/>
          <a:lstStyle>
            <a:lvl1pPr>
              <a:buClrTx/>
              <a:buFont typeface="Wingdings" pitchFamily="2" charset="2"/>
              <a:buChar char="§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 smtClean="0"/>
              <a:t>Muokkaa tekstin perustyylejä napsauttamalla</a:t>
            </a:r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0067B6-48C0-4D1E-BA9C-2B2A8A7FF7AB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8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8C5F6-6D3A-4292-B7FE-834A415A0688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8367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F61D2-48EC-4B2C-98E2-30C26855D60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74000-1E1A-40C1-8297-1F2432B077C0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9982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540FD-7EDC-493D-9A75-950BEBA9823B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3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4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855023-AAEE-465D-A5E4-F6851DAE4725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6461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Otsikko, teksti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05184-1591-4E0E-9FD7-FF5C051A01D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4EE295-F1F3-40F8-AA2A-4CCF08AF9DF1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88454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5983D-B051-4687-BBB7-98548CC761A4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4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5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5917B-B201-48AC-A235-639D67580DEA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002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D0945-BDF6-4F9C-8B08-0E1E99D5D1FD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55E9A-67D2-4126-A96F-CFC3FAABED2A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2947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prstClr val="white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419872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899592" y="6021288"/>
            <a:ext cx="6048672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 smtClean="0">
                <a:solidFill>
                  <a:prstClr val="white"/>
                </a:solidFill>
              </a:rPr>
              <a:t>Pohjois-Pohjanmaan elinkeino-, liikenne- ja ympäristökeskus</a:t>
            </a:r>
            <a:endParaRPr lang="fi-FI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0850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 dirty="0">
              <a:solidFill>
                <a:prstClr val="white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 userDrawn="1"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 dirty="0" smtClean="0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4288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41"/>
            <a:ext cx="7344816" cy="1470025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4" name="Platshållare för sidfo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557544-F841-4B1C-80AC-B7D7BFB79D51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Otsikko, teksti ja 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2"/>
          </p:nvPr>
        </p:nvSpPr>
        <p:spPr>
          <a:xfrm>
            <a:off x="4648200" y="1600201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3"/>
          </p:nvPr>
        </p:nvSpPr>
        <p:spPr>
          <a:xfrm>
            <a:off x="4648200" y="3938589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2.6.2009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CB65C4-8603-460C-B86B-BE51A320556D}" type="slidenum">
              <a:rPr lang="fi-FI" alt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altLang="fi-FI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913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dirty="0" smtClean="0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9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4804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975A30-2929-45F0-A22B-7E28D328DA5A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B0E545-11F2-4EEE-B2B2-340553817E9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5093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41289-E487-4051-A34D-DB6472619D90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59466-A283-4443-ABE7-AE2FF25C3810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9830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F18C09-D9D0-49EE-8488-35558890C6F3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0B7383-3AEF-4D73-B184-AF0163FA3C3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84459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DD2F35-CBEF-4AE1-AFC2-D778731E2183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40D0B-79AB-4A02-8566-76A031641D4F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5540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7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D38A1B-C74F-46A6-8290-3425E00C2AAA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EA8BB0-CE28-4275-A779-062D4D16F872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4801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269119-FD27-46AB-8729-25B5C6FE43DA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B50A8-9486-4EA2-8C62-EA62378C7173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0474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6D344A-67F6-42DB-9762-9C88ABB5A89F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575724-467F-41FE-A6A9-A5638ECBF914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4165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21E68-8429-4A58-9513-3DF070AF37BF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76476-1FEC-4DD2-A2C1-D3E0C628E3C3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412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sidfo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F9A892-2982-430E-A282-233690C39E5C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fi-FI" noProof="0" smtClean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427E1F-B53D-45B4-82ED-4F70CF868D55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4990EC-BE4C-4B3A-ABC6-51C7F1295B64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0429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61810D-991B-4718-B1AA-9302C72EEA44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90271-A7CB-4E42-BC06-FCDEA22B3070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9642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C53528-3EE7-44B7-A587-D6668F8083C1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48DBF7-8731-4239-BD88-BB6A17EBF27A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0365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99592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noProof="0" smtClean="0"/>
              <a:t>Muokkaa perustyyl. napsautt.</a:t>
            </a:r>
            <a:endParaRPr lang="fi-FI" noProof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99592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419872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899592" y="6021288"/>
            <a:ext cx="597666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srgbClr val="FFFFFF"/>
                </a:solidFill>
              </a:rPr>
              <a:t>Pohjois-Pohjanmaan ELY            Timo Mäkikyrö 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1145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4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09121"/>
            <a:ext cx="6048672" cy="1584176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203848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683568" y="6093297"/>
            <a:ext cx="6048672" cy="28803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srgbClr val="FFFFFF"/>
                </a:solidFill>
              </a:rPr>
              <a:t>Pohjois-Pohjanmaan ELY            Timo Mäkikyrö 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6777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oitusdia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981076"/>
            <a:ext cx="9144000" cy="5876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1" name="Bildobjekt 9" descr="logon_sipuli2_vit.png"/>
          <p:cNvPicPr>
            <a:picLocks noChangeAspect="1"/>
          </p:cNvPicPr>
          <p:nvPr userDrawn="1"/>
        </p:nvPicPr>
        <p:blipFill>
          <a:blip r:embed="rId2" cstate="print"/>
          <a:srcRect l="504" r="57983"/>
          <a:stretch>
            <a:fillRect/>
          </a:stretch>
        </p:blipFill>
        <p:spPr bwMode="auto">
          <a:xfrm>
            <a:off x="7292717" y="1556792"/>
            <a:ext cx="1851283" cy="4727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83568" y="2924945"/>
            <a:ext cx="5976664" cy="1656184"/>
          </a:xfrm>
          <a:prstGeom prst="rect">
            <a:avLst/>
          </a:prstGeom>
        </p:spPr>
        <p:txBody>
          <a:bodyPr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83568" y="4581129"/>
            <a:ext cx="5976664" cy="1440160"/>
          </a:xfrm>
          <a:prstGeom prst="rect">
            <a:avLst/>
          </a:prstGeom>
        </p:spPr>
        <p:txBody>
          <a:bodyPr/>
          <a:lstStyle>
            <a:lvl1pPr algn="ctr">
              <a:buClr>
                <a:schemeClr val="accent6"/>
              </a:buClr>
              <a:buFont typeface="Wingdings" pitchFamily="2" charset="2"/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12" name="Platshållare för datum 3"/>
          <p:cNvSpPr>
            <a:spLocks noGrp="1"/>
          </p:cNvSpPr>
          <p:nvPr>
            <p:ph type="dt" sz="half" idx="13"/>
          </p:nvPr>
        </p:nvSpPr>
        <p:spPr>
          <a:xfrm>
            <a:off x="3203848" y="6381329"/>
            <a:ext cx="93610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683568" y="6021288"/>
            <a:ext cx="5976664" cy="36004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smtClean="0">
                <a:solidFill>
                  <a:srgbClr val="FFFFFF"/>
                </a:solidFill>
              </a:rPr>
              <a:t>Pohjois-Pohjanmaan ELY            Timo Mäkikyrö </a:t>
            </a:r>
            <a:endParaRPr lang="fi-FI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827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56351"/>
            <a:ext cx="40005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490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 hankelog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776864" cy="642942"/>
          </a:xfrm>
          <a:prstGeom prst="rect">
            <a:avLst/>
          </a:prstGeom>
        </p:spPr>
        <p:txBody>
          <a:bodyPr/>
          <a:lstStyle>
            <a:lvl1pPr>
              <a:defRPr lang="fi-FI" sz="3000" dirty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5" y="2084238"/>
            <a:ext cx="7782695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10" name="Kuva 11" descr="sosiaali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16279" y="260350"/>
            <a:ext cx="903287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Kuva 12" descr="vipuvoimaaEU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8804" y="260351"/>
            <a:ext cx="1163637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041743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 ja sisältö_ilman logo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611560" y="548680"/>
            <a:ext cx="7776864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611561" y="1556792"/>
            <a:ext cx="7782695" cy="4536504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Dian numeron paikkamerkki 9"/>
          <p:cNvSpPr>
            <a:spLocks noGrp="1"/>
          </p:cNvSpPr>
          <p:nvPr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1532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 ja sisältö_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27584" y="1988841"/>
            <a:ext cx="7344816" cy="1470025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3886200"/>
            <a:ext cx="7344816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 smtClean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511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10"/>
          <p:cNvSpPr/>
          <p:nvPr/>
        </p:nvSpPr>
        <p:spPr>
          <a:xfrm>
            <a:off x="8101013" y="0"/>
            <a:ext cx="104298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/>
          </a:p>
        </p:txBody>
      </p:sp>
      <p:pic>
        <p:nvPicPr>
          <p:cNvPr id="5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6"/>
          <a:stretch>
            <a:fillRect/>
          </a:stretch>
        </p:blipFill>
        <p:spPr bwMode="auto">
          <a:xfrm>
            <a:off x="8101013" y="3319464"/>
            <a:ext cx="1042987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7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963" y="6381751"/>
            <a:ext cx="400051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A4D837-7D6B-495C-A9BA-1243F095D566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2"/>
          </p:nvPr>
        </p:nvSpPr>
        <p:spPr>
          <a:xfrm>
            <a:off x="250825" y="6357939"/>
            <a:ext cx="635793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Vain iso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584" y="1268760"/>
            <a:ext cx="7992888" cy="44644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7" name="Dian numeron paikkamerkki 9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1084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22915561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166790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i-FI">
              <a:solidFill>
                <a:srgbClr val="FFFFFF"/>
              </a:solidFill>
            </a:endParaRPr>
          </a:p>
        </p:txBody>
      </p:sp>
      <p:pic>
        <p:nvPicPr>
          <p:cNvPr id="12" name="Bildobjekt 5" descr="logon_sipuli2_vit.png"/>
          <p:cNvPicPr>
            <a:picLocks noChangeAspect="1"/>
          </p:cNvPicPr>
          <p:nvPr/>
        </p:nvPicPr>
        <p:blipFill>
          <a:blip r:embed="rId2" cstate="print"/>
          <a:srcRect l="33112" r="34585"/>
          <a:stretch>
            <a:fillRect/>
          </a:stretch>
        </p:blipFill>
        <p:spPr bwMode="auto">
          <a:xfrm>
            <a:off x="8100392" y="3319464"/>
            <a:ext cx="1043608" cy="342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00341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23666309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8" name="Kuva 7" descr="sipuli_blue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53361" y="3933057"/>
            <a:ext cx="1290641" cy="2924944"/>
          </a:xfrm>
          <a:prstGeom prst="rect">
            <a:avLst/>
          </a:prstGeom>
        </p:spPr>
      </p:pic>
      <p:sp>
        <p:nvSpPr>
          <p:cNvPr id="11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693648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11" name="Kuva 10" descr="sipuli_green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73506" y="3978714"/>
            <a:ext cx="1270495" cy="2879287"/>
          </a:xfrm>
          <a:prstGeom prst="rect">
            <a:avLst/>
          </a:prstGeom>
        </p:spPr>
      </p:pic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02549839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 ja sisältö elementillä_oran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662473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>
          <a:xfrm>
            <a:off x="7740352" y="6381329"/>
            <a:ext cx="400051" cy="36004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8" name="Kuva 7" descr="sipuli_orange_os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60266" y="3948708"/>
            <a:ext cx="1283735" cy="2909290"/>
          </a:xfrm>
          <a:prstGeom prst="rect">
            <a:avLst/>
          </a:prstGeom>
        </p:spPr>
      </p:pic>
      <p:sp>
        <p:nvSpPr>
          <p:cNvPr id="10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662473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93922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6"/>
          <p:cNvSpPr>
            <a:spLocks noGrp="1"/>
          </p:cNvSpPr>
          <p:nvPr userDrawn="1">
            <p:ph type="title"/>
          </p:nvPr>
        </p:nvSpPr>
        <p:spPr>
          <a:xfrm>
            <a:off x="827584" y="1268760"/>
            <a:ext cx="5904656" cy="648072"/>
          </a:xfrm>
          <a:prstGeom prst="rect">
            <a:avLst/>
          </a:prstGeom>
        </p:spPr>
        <p:txBody>
          <a:bodyPr/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4" name="Dian numeron paikkamerkki 9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89A02-2183-4EC2-9978-996C81F899C4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9" name="Platshållare för sidfot 4"/>
          <p:cNvSpPr>
            <a:spLocks noGrp="1"/>
          </p:cNvSpPr>
          <p:nvPr userDrawn="1">
            <p:ph type="ftr" sz="quarter" idx="14"/>
          </p:nvPr>
        </p:nvSpPr>
        <p:spPr>
          <a:xfrm>
            <a:off x="251521" y="6357939"/>
            <a:ext cx="6357937" cy="365125"/>
          </a:xfrm>
        </p:spPr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11" name="Platshållare för bild 2"/>
          <p:cNvSpPr>
            <a:spLocks noGrp="1"/>
          </p:cNvSpPr>
          <p:nvPr>
            <p:ph type="pic" idx="1"/>
          </p:nvPr>
        </p:nvSpPr>
        <p:spPr>
          <a:xfrm>
            <a:off x="7056784" y="0"/>
            <a:ext cx="205172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8" name="Tekstin paikkamerkki 16"/>
          <p:cNvSpPr>
            <a:spLocks noGrp="1"/>
          </p:cNvSpPr>
          <p:nvPr>
            <p:ph type="body" sz="quarter" idx="10"/>
          </p:nvPr>
        </p:nvSpPr>
        <p:spPr>
          <a:xfrm>
            <a:off x="827584" y="2084238"/>
            <a:ext cx="5904656" cy="3937050"/>
          </a:xfrm>
          <a:prstGeom prst="rect">
            <a:avLst/>
          </a:prstGeom>
        </p:spPr>
        <p:txBody>
          <a:bodyPr/>
          <a:lstStyle>
            <a:lvl1pPr>
              <a:buClr>
                <a:schemeClr val="accent6"/>
              </a:buClr>
              <a:buFont typeface="Wingdings" pitchFamily="2" charset="2"/>
              <a:buChar char="§"/>
              <a:defRPr sz="2200" baseline="0">
                <a:solidFill>
                  <a:schemeClr val="tx1"/>
                </a:solidFill>
              </a:defRPr>
            </a:lvl1pPr>
            <a:lvl2pPr>
              <a:buNone/>
              <a:defRPr sz="2200"/>
            </a:lvl2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77039918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71600" y="4947047"/>
            <a:ext cx="6480720" cy="498178"/>
          </a:xfrm>
          <a:prstGeom prst="rect">
            <a:avLst/>
          </a:prstGeom>
        </p:spPr>
        <p:txBody>
          <a:bodyPr anchor="b"/>
          <a:lstStyle>
            <a:lvl1pPr algn="l"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971600" y="1268760"/>
            <a:ext cx="6480720" cy="3600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971600" y="5511354"/>
            <a:ext cx="648072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31195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51520" y="260649"/>
            <a:ext cx="8640960" cy="53285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51520" y="5661248"/>
            <a:ext cx="8640960" cy="5099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7740352" y="6381329"/>
            <a:ext cx="400051" cy="360040"/>
          </a:xfrm>
        </p:spPr>
        <p:txBody>
          <a:bodyPr/>
          <a:lstStyle/>
          <a:p>
            <a:fld id="{4644F606-9E59-44A4-9C1B-318877967A10}" type="slidenum">
              <a:rPr lang="fi-FI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117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theme" Target="../theme/theme10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image" Target="../media/image1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4.xml"/><Relationship Id="rId18" Type="http://schemas.openxmlformats.org/officeDocument/2006/relationships/slideLayout" Target="../slideLayouts/slideLayout189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17" Type="http://schemas.openxmlformats.org/officeDocument/2006/relationships/slideLayout" Target="../slideLayouts/slideLayout188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173.xml"/><Relationship Id="rId16" Type="http://schemas.openxmlformats.org/officeDocument/2006/relationships/slideLayout" Target="../slideLayouts/slideLayout187.xml"/><Relationship Id="rId20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24" Type="http://schemas.openxmlformats.org/officeDocument/2006/relationships/vmlDrawing" Target="../drawings/vmlDrawing3.vml"/><Relationship Id="rId5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6.xml"/><Relationship Id="rId23" Type="http://schemas.openxmlformats.org/officeDocument/2006/relationships/theme" Target="../theme/theme12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81.xml"/><Relationship Id="rId19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slideLayout" Target="../slideLayouts/slideLayout185.xml"/><Relationship Id="rId22" Type="http://schemas.openxmlformats.org/officeDocument/2006/relationships/slideLayout" Target="../slideLayouts/slideLayout193.xml"/><Relationship Id="rId27" Type="http://schemas.openxmlformats.org/officeDocument/2006/relationships/image" Target="../media/image1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200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20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3" Type="http://schemas.openxmlformats.org/officeDocument/2006/relationships/slideLayout" Target="../slideLayouts/slideLayout216.xml"/><Relationship Id="rId21" Type="http://schemas.openxmlformats.org/officeDocument/2006/relationships/slideLayout" Target="../slideLayouts/slideLayout234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theme" Target="../theme/theme15.xml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3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slideLayout" Target="../slideLayouts/slideLayout248.xml"/><Relationship Id="rId18" Type="http://schemas.openxmlformats.org/officeDocument/2006/relationships/slideLayout" Target="../slideLayouts/slideLayout253.xml"/><Relationship Id="rId26" Type="http://schemas.openxmlformats.org/officeDocument/2006/relationships/image" Target="../media/image1.jpeg"/><Relationship Id="rId3" Type="http://schemas.openxmlformats.org/officeDocument/2006/relationships/slideLayout" Target="../slideLayouts/slideLayout238.xml"/><Relationship Id="rId21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42.xml"/><Relationship Id="rId12" Type="http://schemas.openxmlformats.org/officeDocument/2006/relationships/slideLayout" Target="../slideLayouts/slideLayout247.xml"/><Relationship Id="rId17" Type="http://schemas.openxmlformats.org/officeDocument/2006/relationships/slideLayout" Target="../slideLayouts/slideLayout252.xml"/><Relationship Id="rId25" Type="http://schemas.openxmlformats.org/officeDocument/2006/relationships/theme" Target="../theme/theme16.xml"/><Relationship Id="rId2" Type="http://schemas.openxmlformats.org/officeDocument/2006/relationships/slideLayout" Target="../slideLayouts/slideLayout237.xml"/><Relationship Id="rId16" Type="http://schemas.openxmlformats.org/officeDocument/2006/relationships/slideLayout" Target="../slideLayouts/slideLayout251.xml"/><Relationship Id="rId20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24" Type="http://schemas.openxmlformats.org/officeDocument/2006/relationships/slideLayout" Target="../slideLayouts/slideLayout259.xml"/><Relationship Id="rId5" Type="http://schemas.openxmlformats.org/officeDocument/2006/relationships/slideLayout" Target="../slideLayouts/slideLayout240.xml"/><Relationship Id="rId15" Type="http://schemas.openxmlformats.org/officeDocument/2006/relationships/slideLayout" Target="../slideLayouts/slideLayout250.xml"/><Relationship Id="rId23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45.xml"/><Relationship Id="rId19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49.xml"/><Relationship Id="rId22" Type="http://schemas.openxmlformats.org/officeDocument/2006/relationships/slideLayout" Target="../slideLayouts/slideLayout257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4" Type="http://schemas.openxmlformats.org/officeDocument/2006/relationships/image" Target="../media/image8.w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64.xml"/><Relationship Id="rId7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66.xml"/><Relationship Id="rId10" Type="http://schemas.openxmlformats.org/officeDocument/2006/relationships/image" Target="../media/image8.wmf"/><Relationship Id="rId4" Type="http://schemas.openxmlformats.org/officeDocument/2006/relationships/slideLayout" Target="../slideLayouts/slideLayout265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3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76.xml"/><Relationship Id="rId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73.xml"/><Relationship Id="rId9" Type="http://schemas.openxmlformats.org/officeDocument/2006/relationships/image" Target="../media/image8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8.wmf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slideLayout" Target="../slideLayouts/slideLayout289.xml"/><Relationship Id="rId18" Type="http://schemas.openxmlformats.org/officeDocument/2006/relationships/slideLayout" Target="../slideLayouts/slideLayout294.xml"/><Relationship Id="rId3" Type="http://schemas.openxmlformats.org/officeDocument/2006/relationships/slideLayout" Target="../slideLayouts/slideLayout279.xml"/><Relationship Id="rId21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88.xml"/><Relationship Id="rId17" Type="http://schemas.openxmlformats.org/officeDocument/2006/relationships/slideLayout" Target="../slideLayouts/slideLayout293.xml"/><Relationship Id="rId2" Type="http://schemas.openxmlformats.org/officeDocument/2006/relationships/slideLayout" Target="../slideLayouts/slideLayout278.xml"/><Relationship Id="rId16" Type="http://schemas.openxmlformats.org/officeDocument/2006/relationships/slideLayout" Target="../slideLayouts/slideLayout292.xml"/><Relationship Id="rId20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281.xml"/><Relationship Id="rId15" Type="http://schemas.openxmlformats.org/officeDocument/2006/relationships/slideLayout" Target="../slideLayouts/slideLayout291.xml"/><Relationship Id="rId23" Type="http://schemas.openxmlformats.org/officeDocument/2006/relationships/theme" Target="../theme/theme20.xml"/><Relationship Id="rId10" Type="http://schemas.openxmlformats.org/officeDocument/2006/relationships/slideLayout" Target="../slideLayouts/slideLayout286.xml"/><Relationship Id="rId19" Type="http://schemas.openxmlformats.org/officeDocument/2006/relationships/slideLayout" Target="../slideLayouts/slideLayout295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Relationship Id="rId14" Type="http://schemas.openxmlformats.org/officeDocument/2006/relationships/slideLayout" Target="../slideLayouts/slideLayout290.xml"/><Relationship Id="rId22" Type="http://schemas.openxmlformats.org/officeDocument/2006/relationships/slideLayout" Target="../slideLayouts/slideLayout29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slideLayout" Target="../slideLayouts/slideLayout311.xml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slideLayout" Target="../slideLayouts/slideLayout310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4.xml"/><Relationship Id="rId7" Type="http://schemas.openxmlformats.org/officeDocument/2006/relationships/theme" Target="../theme/theme22.xml"/><Relationship Id="rId2" Type="http://schemas.openxmlformats.org/officeDocument/2006/relationships/slideLayout" Target="../slideLayouts/slideLayout313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5" Type="http://schemas.openxmlformats.org/officeDocument/2006/relationships/slideLayout" Target="../slideLayouts/slideLayout316.xml"/><Relationship Id="rId4" Type="http://schemas.openxmlformats.org/officeDocument/2006/relationships/slideLayout" Target="../slideLayouts/slideLayout315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theme" Target="../theme/theme23.xml"/><Relationship Id="rId2" Type="http://schemas.openxmlformats.org/officeDocument/2006/relationships/slideLayout" Target="../slideLayouts/slideLayout319.xml"/><Relationship Id="rId1" Type="http://schemas.openxmlformats.org/officeDocument/2006/relationships/slideLayout" Target="../slideLayouts/slideLayout318.xml"/><Relationship Id="rId4" Type="http://schemas.openxmlformats.org/officeDocument/2006/relationships/image" Target="../media/image8.w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Relationship Id="rId9" Type="http://schemas.openxmlformats.org/officeDocument/2006/relationships/image" Target="../media/image8.w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8.wmf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theme" Target="../theme/theme8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image" Target="../media/image8.wmf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cs typeface="+mn-cs"/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811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dirty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fi-FI" dirty="0" smtClean="0"/>
              <a:t>, strategiayksikkö</a:t>
            </a:r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649" y="6381751"/>
            <a:ext cx="400051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A84660B1-88D9-40E5-A44A-9E72B42648B8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pic>
        <p:nvPicPr>
          <p:cNvPr id="1030" name="Kuva 7" descr="ELY_LB01_FiSvEn_3L_B3___RGB_tresprak.jp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79389" y="115889"/>
            <a:ext cx="405606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fontAlgn="base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fontAlgn="base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fontAlgn="base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604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4" y="16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Box 9"/>
          <p:cNvSpPr txBox="1">
            <a:spLocks noChangeArrowheads="1"/>
          </p:cNvSpPr>
          <p:nvPr/>
        </p:nvSpPr>
        <p:spPr bwMode="auto">
          <a:xfrm>
            <a:off x="323853" y="6021423"/>
            <a:ext cx="1944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120" eaLnBrk="1" hangingPunct="1">
              <a:spcBef>
                <a:spcPct val="50000"/>
              </a:spcBef>
              <a:defRPr/>
            </a:pPr>
            <a:endParaRPr lang="fi-FI" smtClean="0">
              <a:solidFill>
                <a:prstClr val="black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73"/>
            <a:ext cx="811212" cy="365125"/>
          </a:xfrm>
          <a:prstGeom prst="rect">
            <a:avLst/>
          </a:prstGeom>
        </p:spPr>
        <p:txBody>
          <a:bodyPr vert="horz" lIns="91415" tIns="45707" rIns="91415" bIns="45707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 defTabSz="914120"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82" y="6357973"/>
            <a:ext cx="6357937" cy="365125"/>
          </a:xfrm>
          <a:prstGeom prst="rect">
            <a:avLst/>
          </a:prstGeom>
        </p:spPr>
        <p:txBody>
          <a:bodyPr vert="horz" lIns="91415" tIns="45707" rIns="91415" bIns="45707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 defTabSz="914120"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649" y="6381785"/>
            <a:ext cx="400051" cy="360363"/>
          </a:xfrm>
          <a:prstGeom prst="rect">
            <a:avLst/>
          </a:prstGeom>
        </p:spPr>
        <p:txBody>
          <a:bodyPr vert="horz" lIns="91415" tIns="45707" rIns="91415" bIns="45707" rtlCol="0" anchor="ctr"/>
          <a:lstStyle>
            <a:lvl1pPr algn="r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 defTabSz="914120">
              <a:defRPr/>
            </a:pPr>
            <a:fld id="{A090B965-B2DF-489F-8CA6-49BD2A3EEB1A}" type="slidenum">
              <a:rPr lang="fi-FI" smtClean="0">
                <a:solidFill>
                  <a:prstClr val="black"/>
                </a:solidFill>
              </a:rPr>
              <a:pPr defTabSz="914120"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1030" name="Kuva 7" descr="ELY_LB01_FiSvEn_3L_B3___RGB_tresprak.jp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90" y="115914"/>
            <a:ext cx="4056063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496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  <p:sldLayoutId id="2147483971" r:id="rId21"/>
    <p:sldLayoutId id="2147483972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061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12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181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242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796" indent="-34279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723" indent="-285663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651" indent="-22853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599712" indent="-22853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772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3832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0894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7953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5014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1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0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1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42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02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62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23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83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Otsikon paikkamerkki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i-FI" smtClean="0"/>
              <a:t>Muokkaa perustyyl. napsautt.</a:t>
            </a:r>
          </a:p>
        </p:txBody>
      </p:sp>
      <p:sp>
        <p:nvSpPr>
          <p:cNvPr id="1027" name="Tekstin paikkamerkki 2"/>
          <p:cNvSpPr>
            <a:spLocks noGrp="1"/>
          </p:cNvSpPr>
          <p:nvPr>
            <p:ph type="body" idx="1"/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6353ED1-1FE0-498D-9EC3-AD6C239A2A7B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5323B58-EC3F-42FF-A784-C8035B724FDF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275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  <p:sldLayoutId id="214748398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8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5"/>
            </p:custDataLst>
            <p:extLst/>
          </p:nvPr>
        </p:nvGraphicFramePr>
        <p:xfrm>
          <a:off x="1604" y="16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4" y="16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ext Box 9"/>
          <p:cNvSpPr txBox="1">
            <a:spLocks noChangeArrowheads="1"/>
          </p:cNvSpPr>
          <p:nvPr/>
        </p:nvSpPr>
        <p:spPr bwMode="auto">
          <a:xfrm>
            <a:off x="323853" y="6021423"/>
            <a:ext cx="1944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120" eaLnBrk="1" hangingPunct="1">
              <a:spcBef>
                <a:spcPct val="50000"/>
              </a:spcBef>
              <a:defRPr/>
            </a:pPr>
            <a:endParaRPr lang="fi-FI" smtClean="0">
              <a:solidFill>
                <a:prstClr val="black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73"/>
            <a:ext cx="811212" cy="365125"/>
          </a:xfrm>
          <a:prstGeom prst="rect">
            <a:avLst/>
          </a:prstGeom>
        </p:spPr>
        <p:txBody>
          <a:bodyPr vert="horz" lIns="91415" tIns="45707" rIns="91415" bIns="45707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 defTabSz="914120"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82" y="6357973"/>
            <a:ext cx="6357937" cy="365125"/>
          </a:xfrm>
          <a:prstGeom prst="rect">
            <a:avLst/>
          </a:prstGeom>
        </p:spPr>
        <p:txBody>
          <a:bodyPr vert="horz" lIns="91415" tIns="45707" rIns="91415" bIns="45707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 defTabSz="914120"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649" y="6381785"/>
            <a:ext cx="400051" cy="360363"/>
          </a:xfrm>
          <a:prstGeom prst="rect">
            <a:avLst/>
          </a:prstGeom>
        </p:spPr>
        <p:txBody>
          <a:bodyPr vert="horz" lIns="91415" tIns="45707" rIns="91415" bIns="45707" rtlCol="0" anchor="ctr"/>
          <a:lstStyle>
            <a:lvl1pPr algn="r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 defTabSz="914120">
              <a:defRPr/>
            </a:pPr>
            <a:fld id="{A090B965-B2DF-489F-8CA6-49BD2A3EEB1A}" type="slidenum">
              <a:rPr lang="fi-FI" smtClean="0">
                <a:solidFill>
                  <a:prstClr val="black"/>
                </a:solidFill>
              </a:rPr>
              <a:pPr defTabSz="914120"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1030" name="Kuva 7" descr="ELY_LB01_FiSvEn_3L_B3___RGB_tresprak.jp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90" y="115914"/>
            <a:ext cx="4056063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7916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  <p:sldLayoutId id="2147484005" r:id="rId18"/>
    <p:sldLayoutId id="2147484006" r:id="rId19"/>
    <p:sldLayoutId id="2147484007" r:id="rId20"/>
    <p:sldLayoutId id="2147484008" r:id="rId21"/>
    <p:sldLayoutId id="2147484009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061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12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181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242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796" indent="-34279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723" indent="-285663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651" indent="-22853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599712" indent="-22853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772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3832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0894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7953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5014" indent="-22853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1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0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1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42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02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62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23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83" algn="l" defTabSz="9141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628651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B5AAFD9-2588-4F8E-8FF8-E2DE74E064E6}" type="datetimeFigureOut">
              <a:rPr lang="fi-F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fi-FI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6457951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390A098-1B1E-44DB-ABF5-DDD197583A0D}" type="slidenum">
              <a:rPr lang="fi-F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11252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96000" y="417600"/>
            <a:ext cx="662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2000" y="1704000"/>
            <a:ext cx="7970400" cy="441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68703" y="6356353"/>
            <a:ext cx="8280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15.6.2015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98042" y="6356353"/>
            <a:ext cx="29173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64528" y="6356353"/>
            <a:ext cx="373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D4DA235-7EA1-4625-B20E-92643EB613A9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Kuva 14" descr="UUSI_Liikennevirasto_Tapahtumat_vaaka_cmyk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" y="259200"/>
            <a:ext cx="1767600" cy="1155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400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</p:sldLayoutIdLst>
  <p:hf hdr="0" ftr="0"/>
  <p:txStyles>
    <p:titleStyle>
      <a:lvl1pPr marL="0" algn="l" defTabSz="685783" rtl="0" eaLnBrk="1" latinLnBrk="0" hangingPunct="1">
        <a:lnSpc>
          <a:spcPct val="90000"/>
        </a:lnSpc>
        <a:spcBef>
          <a:spcPct val="0"/>
        </a:spcBef>
        <a:buNone/>
        <a:defRPr lang="fi-FI" sz="2800" kern="1200" baseline="0" dirty="0">
          <a:solidFill>
            <a:srgbClr val="00B0CA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34935" indent="-134935" algn="l" defTabSz="685783" rtl="0" eaLnBrk="1" latinLnBrk="0" hangingPunct="1">
        <a:lnSpc>
          <a:spcPct val="90000"/>
        </a:lnSpc>
        <a:spcBef>
          <a:spcPts val="750"/>
        </a:spcBef>
        <a:buClr>
          <a:srgbClr val="00B0CA"/>
        </a:buClr>
        <a:buSzPct val="120000"/>
        <a:buFont typeface="Arial" panose="020B0604020202020204" pitchFamily="34" charset="0"/>
        <a:buChar char="●"/>
        <a:defRPr lang="en-US" sz="1600" b="0" kern="1200" dirty="0" smtClean="0">
          <a:solidFill>
            <a:srgbClr val="000000"/>
          </a:solidFill>
          <a:latin typeface="Arial" charset="0"/>
          <a:ea typeface="+mn-ea"/>
          <a:cs typeface="Arial" panose="020B0604020202020204" pitchFamily="34" charset="0"/>
        </a:defRPr>
      </a:lvl1pPr>
      <a:lvl2pPr marL="449252" indent="-90486" algn="l" defTabSz="685783" rtl="0" eaLnBrk="1" latinLnBrk="0" hangingPunct="1">
        <a:lnSpc>
          <a:spcPct val="90000"/>
        </a:lnSpc>
        <a:spcBef>
          <a:spcPts val="375"/>
        </a:spcBef>
        <a:buClr>
          <a:srgbClr val="A59D95"/>
        </a:buClr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17532" indent="-109535" algn="l" defTabSz="685783" rtl="0" eaLnBrk="1" latinLnBrk="0" hangingPunct="1">
        <a:lnSpc>
          <a:spcPct val="90000"/>
        </a:lnSpc>
        <a:spcBef>
          <a:spcPts val="375"/>
        </a:spcBef>
        <a:buClr>
          <a:srgbClr val="A59D95"/>
        </a:buClr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76298" indent="-133347" algn="l" defTabSz="685783" rtl="0" eaLnBrk="1" latinLnBrk="0" hangingPunct="1">
        <a:lnSpc>
          <a:spcPct val="90000"/>
        </a:lnSpc>
        <a:spcBef>
          <a:spcPts val="375"/>
        </a:spcBef>
        <a:buClr>
          <a:srgbClr val="A59D95"/>
        </a:buClr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46166" indent="-131760" algn="l" defTabSz="685783" rtl="0" eaLnBrk="1" latinLnBrk="0" hangingPunct="1">
        <a:lnSpc>
          <a:spcPct val="90000"/>
        </a:lnSpc>
        <a:spcBef>
          <a:spcPts val="375"/>
        </a:spcBef>
        <a:buClr>
          <a:srgbClr val="A59D95"/>
        </a:buClr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811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dirty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, strategiayksikkö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649" y="6381751"/>
            <a:ext cx="400051" cy="3603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A84660B1-88D9-40E5-A44A-9E72B42648B8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1030" name="Kuva 7" descr="ELY_LB01_FiSvEn_3L_B3___RGB_tresprak.jpg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79389" y="115889"/>
            <a:ext cx="4056063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5403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  <p:sldLayoutId id="2147484044" r:id="rId11"/>
    <p:sldLayoutId id="2147484045" r:id="rId12"/>
    <p:sldLayoutId id="2147484046" r:id="rId13"/>
    <p:sldLayoutId id="2147484047" r:id="rId14"/>
    <p:sldLayoutId id="2147484048" r:id="rId15"/>
    <p:sldLayoutId id="2147484049" r:id="rId16"/>
    <p:sldLayoutId id="2147484050" r:id="rId17"/>
    <p:sldLayoutId id="2147484051" r:id="rId18"/>
    <p:sldLayoutId id="2147484052" r:id="rId19"/>
    <p:sldLayoutId id="2147484053" r:id="rId20"/>
    <p:sldLayoutId id="2147484054" r:id="rId21"/>
    <p:sldLayoutId id="2147484055" r:id="rId2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fontAlgn="base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fontAlgn="base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fontAlgn="base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fi-FI" smtClean="0">
              <a:solidFill>
                <a:prstClr val="black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811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3.11.2015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 smtClean="0">
                <a:solidFill>
                  <a:prstClr val="black"/>
                </a:solidFill>
              </a:rPr>
              <a:t>Samuli Kallio</a:t>
            </a:r>
            <a:endParaRPr lang="fi-FI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649" y="6381751"/>
            <a:ext cx="400051" cy="36036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pPr>
              <a:defRPr/>
            </a:pPr>
            <a:fld id="{AE63B741-833D-4957-95E7-142E75F0911C}" type="slidenum">
              <a:rPr lang="fi-FI" altLang="fi-FI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fi-FI" altLang="fi-FI">
              <a:solidFill>
                <a:prstClr val="black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1030" name="Kuva 7" descr="ELY_LB01_FiSvEn_3L_B3___RGB_tresprak.jp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115889"/>
            <a:ext cx="4056063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3634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  <p:sldLayoutId id="2147484068" r:id="rId12"/>
    <p:sldLayoutId id="2147484069" r:id="rId13"/>
    <p:sldLayoutId id="2147484070" r:id="rId14"/>
    <p:sldLayoutId id="2147484071" r:id="rId15"/>
    <p:sldLayoutId id="2147484072" r:id="rId16"/>
    <p:sldLayoutId id="2147484073" r:id="rId17"/>
    <p:sldLayoutId id="2147484074" r:id="rId18"/>
    <p:sldLayoutId id="2147484075" r:id="rId19"/>
    <p:sldLayoutId id="2147484076" r:id="rId20"/>
    <p:sldLayoutId id="2147484077" r:id="rId21"/>
    <p:sldLayoutId id="2147484078" r:id="rId22"/>
    <p:sldLayoutId id="2147484079" r:id="rId23"/>
    <p:sldLayoutId id="2147484080" r:id="rId24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anose="05000000000000000000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srgbClr val="58585A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1027" name="Kuva 8" descr="ELY_logo_väri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1357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4567D3F-22CD-4C06-AF8B-70320A445B23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Lisää viraston nimi, tekijän nimi ja osasto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215313" y="6356351"/>
            <a:ext cx="4000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467EB3C3-8890-4F68-A269-174BD72AA617}" type="slidenum">
              <a:rPr lang="fi-FI" altLang="fi-FI" smtClean="0">
                <a:solidFill>
                  <a:srgbClr val="58585A"/>
                </a:solidFill>
                <a:latin typeface="Arial"/>
                <a:cs typeface="Arial" panose="020B0604020202020204" pitchFamily="34" charset="0"/>
              </a:rPr>
              <a:pPr/>
              <a:t>‹#›</a:t>
            </a:fld>
            <a:endParaRPr lang="fi-FI" altLang="fi-FI" smtClean="0">
              <a:solidFill>
                <a:srgbClr val="58585A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0728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anose="05000000000000000000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prstClr val="black"/>
              </a:solidFill>
            </a:endParaRPr>
          </a:p>
        </p:txBody>
      </p:sp>
      <p:pic>
        <p:nvPicPr>
          <p:cNvPr id="1027" name="Kuva 8" descr="ELY_logo_väri.gif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1357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C54F04E-6CCA-4BA4-8B93-BB041D37F406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215313" y="6356351"/>
            <a:ext cx="4000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5D68E35-E5A3-4001-98C3-F6F9088150B5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66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prstClr val="black"/>
              </a:solidFill>
            </a:endParaRPr>
          </a:p>
        </p:txBody>
      </p:sp>
      <p:pic>
        <p:nvPicPr>
          <p:cNvPr id="1027" name="Kuva 8" descr="ELY_logo_väri.gif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1357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C54F04E-6CCA-4BA4-8B93-BB041D37F406}" type="datetime1">
              <a:rPr lang="fi-FI">
                <a:solidFill>
                  <a:prstClr val="black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inkeino-, liikenne- ja ympäristökeskus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215313" y="6356351"/>
            <a:ext cx="4000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5D68E35-E5A3-4001-98C3-F6F9088150B5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453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8" r:id="rId3"/>
    <p:sldLayoutId id="2147484099" r:id="rId4"/>
    <p:sldLayoutId id="2147484100" r:id="rId5"/>
    <p:sldLayoutId id="2147484101" r:id="rId6"/>
    <p:sldLayoutId id="2147484102" r:id="rId7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srgbClr val="58585A"/>
              </a:solidFill>
            </a:endParaRPr>
          </a:p>
        </p:txBody>
      </p:sp>
      <p:pic>
        <p:nvPicPr>
          <p:cNvPr id="1027" name="Kuva 8" descr="ELY_logo_väri.gif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1357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C54F04E-6CCA-4BA4-8B93-BB041D37F40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 dirty="0">
                <a:solidFill>
                  <a:srgbClr val="58585A"/>
                </a:solidFill>
              </a:rPr>
              <a:t>Pohjois-Pohjanmaan elinkeino-, liikenne- ja ympäristökeskus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215313" y="6356351"/>
            <a:ext cx="4000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5D68E35-E5A3-4001-98C3-F6F9088150B5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993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4140" r:id="rId9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8" y="6357939"/>
            <a:ext cx="8107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dirty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352" y="6381329"/>
            <a:ext cx="400051" cy="36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1F70512E-3501-4C97-9457-F6C16E24E41E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8" name="Kuva 7" descr="ELY_LB01_FiSvEn_3L_B3___RGB_tresprak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179514" y="116632"/>
            <a:ext cx="4055487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113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  <p:sldLayoutId id="2147484107" r:id="rId4"/>
    <p:sldLayoutId id="2147484108" r:id="rId5"/>
    <p:sldLayoutId id="2147484109" r:id="rId6"/>
    <p:sldLayoutId id="2147484110" r:id="rId7"/>
    <p:sldLayoutId id="2147484111" r:id="rId8"/>
    <p:sldLayoutId id="2147484112" r:id="rId9"/>
    <p:sldLayoutId id="2147484113" r:id="rId10"/>
    <p:sldLayoutId id="2147484114" r:id="rId11"/>
    <p:sldLayoutId id="2147484115" r:id="rId12"/>
    <p:sldLayoutId id="2147484116" r:id="rId13"/>
    <p:sldLayoutId id="2147484117" r:id="rId14"/>
    <p:sldLayoutId id="2147484118" r:id="rId15"/>
    <p:sldLayoutId id="2147484119" r:id="rId16"/>
    <p:sldLayoutId id="2147484120" r:id="rId17"/>
    <p:sldLayoutId id="2147484121" r:id="rId18"/>
    <p:sldLayoutId id="2147484122" r:id="rId19"/>
    <p:sldLayoutId id="2147484123" r:id="rId20"/>
    <p:sldLayoutId id="2147484124" r:id="rId21"/>
    <p:sldLayoutId id="2147484125" r:id="rId2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6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FFF0D1">
                  <a:alpha val="42999"/>
                </a:srgbClr>
              </a:gs>
              <a:gs pos="100000">
                <a:srgbClr val="66CCFF">
                  <a:alpha val="45000"/>
                </a:srgbClr>
              </a:gs>
            </a:gsLst>
            <a:lin ang="27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fi-FI" altLang="fi-FI" smtClean="0">
              <a:solidFill>
                <a:srgbClr val="000000"/>
              </a:solidFill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 smtClean="0"/>
              <a:t>Muokkaa perustyyl. napsautt.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62877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 smtClean="0"/>
              <a:t>Muokkaa tekstin perustyylejä napsauttamalla</a:t>
            </a:r>
          </a:p>
          <a:p>
            <a:pPr lvl="1"/>
            <a:r>
              <a:rPr lang="fi-FI" altLang="fi-FI" smtClean="0"/>
              <a:t>toinen taso</a:t>
            </a:r>
          </a:p>
          <a:p>
            <a:pPr lvl="2"/>
            <a:r>
              <a:rPr lang="fi-FI" altLang="fi-FI" smtClean="0"/>
              <a:t>kolmas taso</a:t>
            </a:r>
          </a:p>
          <a:p>
            <a:pPr lvl="3"/>
            <a:r>
              <a:rPr lang="fi-FI" altLang="fi-FI" smtClean="0"/>
              <a:t>neljäs taso</a:t>
            </a:r>
          </a:p>
          <a:p>
            <a:pPr lvl="4"/>
            <a:r>
              <a:rPr lang="fi-FI" altLang="fi-FI" smtClean="0"/>
              <a:t>viides taso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fi-FI">
                <a:solidFill>
                  <a:srgbClr val="000000"/>
                </a:solidFill>
              </a:rPr>
              <a:t>2.6.2009</a:t>
            </a:r>
          </a:p>
        </p:txBody>
      </p:sp>
      <p:sp>
        <p:nvSpPr>
          <p:cNvPr id="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>
              <a:defRPr/>
            </a:pPr>
            <a:fld id="{B0D4FDA7-1D7F-4AFB-AE2C-8358BA452774}" type="slidenum">
              <a:rPr lang="fi-FI" altLang="fi-FI">
                <a:solidFill>
                  <a:srgbClr val="000000"/>
                </a:solidFill>
                <a:latin typeface="Arial" panose="020B0604020202020204" pitchFamily="34" charset="0"/>
              </a:rPr>
              <a:pPr>
                <a:defRPr/>
              </a:pPr>
              <a:t>‹#›</a:t>
            </a:fld>
            <a:endParaRPr lang="fi-FI" altLang="fi-FI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9508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  <p:sldLayoutId id="2147484136" r:id="rId10"/>
    <p:sldLayoutId id="2147484137" r:id="rId11"/>
    <p:sldLayoutId id="2147484138" r:id="rId12"/>
    <p:sldLayoutId id="2147484139" r:id="rId13"/>
  </p:sldLayoutIdLst>
  <p:transition spd="med">
    <p:fade/>
  </p:transition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378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537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726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915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103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6378000"/>
            <a:ext cx="9144000" cy="48000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fi-FI" sz="135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529949"/>
            <a:ext cx="7886700" cy="9959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525865"/>
            <a:ext cx="7886700" cy="44473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71454" y="6514950"/>
            <a:ext cx="703447" cy="2061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F2DB349-D844-F140-BD48-943C54C28848}" type="datetime1">
              <a:rPr lang="fi-FI" smtClean="0">
                <a:solidFill>
                  <a:srgbClr val="D5B37A"/>
                </a:solidFill>
                <a:latin typeface="Arial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.9.2016</a:t>
            </a:fld>
            <a:endParaRPr lang="fi-FI" dirty="0">
              <a:solidFill>
                <a:srgbClr val="D5B37A"/>
              </a:solidFill>
              <a:latin typeface="Arial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1" y="6514950"/>
            <a:ext cx="3080611" cy="2061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bg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mtClean="0">
                <a:solidFill>
                  <a:srgbClr val="D5B37A"/>
                </a:solidFill>
                <a:latin typeface="Arial"/>
                <a:cs typeface="+mn-cs"/>
              </a:rPr>
              <a:t>Työ- ja elinkeinoministeriö </a:t>
            </a:r>
            <a:r>
              <a:rPr lang="bg-BG" smtClean="0">
                <a:solidFill>
                  <a:srgbClr val="D5B37A"/>
                </a:solidFill>
                <a:latin typeface="Arial"/>
                <a:cs typeface="+mn-cs"/>
              </a:rPr>
              <a:t>•</a:t>
            </a:r>
            <a:r>
              <a:rPr lang="fi-FI" smtClean="0">
                <a:solidFill>
                  <a:srgbClr val="D5B37A"/>
                </a:solidFill>
                <a:latin typeface="Arial"/>
                <a:cs typeface="+mn-cs"/>
              </a:rPr>
              <a:t> www.tem.fi</a:t>
            </a:r>
            <a:endParaRPr lang="fi-FI" dirty="0">
              <a:solidFill>
                <a:srgbClr val="D5B37A"/>
              </a:solidFill>
              <a:latin typeface="Arial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76153" y="6514950"/>
            <a:ext cx="538239" cy="2061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065C9E5-8AC3-DF4B-BA99-CB03B9370A98}" type="slidenum">
              <a:rPr lang="fi-FI" smtClean="0">
                <a:solidFill>
                  <a:srgbClr val="D5B37A"/>
                </a:solidFill>
                <a:latin typeface="Arial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fi-FI">
              <a:solidFill>
                <a:srgbClr val="D5B37A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25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9" r:id="rId4"/>
    <p:sldLayoutId id="2147484160" r:id="rId5"/>
    <p:sldLayoutId id="2147484161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165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200" kern="1200">
          <a:solidFill>
            <a:srgbClr val="505050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200" kern="1200">
          <a:solidFill>
            <a:srgbClr val="505050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200" kern="1200">
          <a:solidFill>
            <a:srgbClr val="505050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2822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0" y="6021388"/>
            <a:ext cx="1944688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srgbClr val="58585A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1027" name="Kuva 8" descr="ELY_logo_väri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63" y="285750"/>
            <a:ext cx="470217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8" y="6357938"/>
            <a:ext cx="1357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DAB838C-D7F5-44B4-BAB4-BCAC8CBF92AE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3" y="6357938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Lisää viraston nimi, tekijän nimi ja osasto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215313" y="6356350"/>
            <a:ext cx="4000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809FE268-3D12-430D-82E3-C51AA4F2EDA8}" type="slidenum">
              <a:rPr lang="fi-FI" altLang="fi-FI" smtClean="0">
                <a:solidFill>
                  <a:srgbClr val="58585A"/>
                </a:solidFill>
                <a:latin typeface="Arial"/>
                <a:cs typeface="Arial" panose="020B0604020202020204" pitchFamily="34" charset="0"/>
              </a:rPr>
              <a:pPr/>
              <a:t>‹#›</a:t>
            </a:fld>
            <a:endParaRPr lang="fi-FI" altLang="fi-FI" smtClean="0">
              <a:solidFill>
                <a:srgbClr val="58585A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144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anose="05000000000000000000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8" y="6357939"/>
            <a:ext cx="8107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dirty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fi-FI" dirty="0">
                <a:solidFill>
                  <a:prstClr val="black"/>
                </a:solidFill>
              </a:rPr>
              <a:t>Pohjois-Pohjanmaan elinkeino-, liikenne- ja ympäristökeskus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352" y="6381329"/>
            <a:ext cx="400051" cy="36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1F70512E-3501-4C97-9457-F6C16E24E41E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8" name="Kuva 7" descr="ELY_LB01_FiSvEn_3L_B3___RGB_tresprak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179514" y="116632"/>
            <a:ext cx="4055487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284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srgbClr val="58585A"/>
              </a:solidFill>
            </a:endParaRPr>
          </a:p>
        </p:txBody>
      </p:sp>
      <p:pic>
        <p:nvPicPr>
          <p:cNvPr id="1027" name="Kuva 8" descr="ELY_logo_väri.gif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1357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C54F04E-6CCA-4BA4-8B93-BB041D37F40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215313" y="6356351"/>
            <a:ext cx="4000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5D68E35-E5A3-4001-98C3-F6F9088150B5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249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6" r:id="rId3"/>
    <p:sldLayoutId id="2147483847" r:id="rId4"/>
    <p:sldLayoutId id="2147483848" r:id="rId5"/>
    <p:sldLayoutId id="2147483849" r:id="rId6"/>
    <p:sldLayoutId id="2147483850" r:id="rId7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srgbClr val="58585A"/>
              </a:solidFill>
            </a:endParaRPr>
          </a:p>
        </p:txBody>
      </p:sp>
      <p:pic>
        <p:nvPicPr>
          <p:cNvPr id="1027" name="Kuva 8" descr="ELY_logo_väri.gif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1357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C54F04E-6CCA-4BA4-8B93-BB041D37F40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215313" y="6356351"/>
            <a:ext cx="4000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5D68E35-E5A3-4001-98C3-F6F9088150B5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926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Otsikon paikkamerkki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i-FI" smtClean="0"/>
              <a:t>Muokkaa perustyyl. napsautt.</a:t>
            </a:r>
          </a:p>
        </p:txBody>
      </p:sp>
      <p:sp>
        <p:nvSpPr>
          <p:cNvPr id="1027" name="Tekstin paikkamerkki 2"/>
          <p:cNvSpPr>
            <a:spLocks noGrp="1"/>
          </p:cNvSpPr>
          <p:nvPr>
            <p:ph type="body" idx="1"/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6353ED1-1FE0-498D-9EC3-AD6C239A2A7B}" type="datetimeFigureOut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.9.2016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5323B58-EC3F-42FF-A784-C8035B724FDF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842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8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8" y="6357939"/>
            <a:ext cx="8107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dirty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352" y="6381329"/>
            <a:ext cx="400051" cy="36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1F70512E-3501-4C97-9457-F6C16E24E41E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8" name="Kuva 7" descr="ELY_LB01_FiSvEn_3L_B3___RGB_tresprak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179514" y="116632"/>
            <a:ext cx="4055487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0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  <p:sldLayoutId id="2147483909" r:id="rId18"/>
    <p:sldLayoutId id="2147483910" r:id="rId19"/>
    <p:sldLayoutId id="2147483911" r:id="rId20"/>
    <p:sldLayoutId id="2147483912" r:id="rId21"/>
    <p:sldLayoutId id="2147483913" r:id="rId22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8" y="6357939"/>
            <a:ext cx="8107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dirty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fi-FI">
              <a:solidFill>
                <a:prstClr val="black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fi-FI">
                <a:solidFill>
                  <a:prstClr val="black"/>
                </a:solidFill>
              </a:rPr>
              <a:t>Pohjois-Pohjanmaan ELY            Timo Mäkikyrö </a:t>
            </a:r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7740352" y="6381329"/>
            <a:ext cx="400051" cy="36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 smtClean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1F70512E-3501-4C97-9457-F6C16E24E41E}" type="slidenum">
              <a:rPr lang="fi-FI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8" name="Kuva 7" descr="ELY_LB01_FiSvEn_3L_B3___RGB_tresprak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179514" y="116632"/>
            <a:ext cx="4055487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53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  <p:sldLayoutId id="2147483934" r:id="rId20"/>
    <p:sldLayoutId id="2147483935" r:id="rId21"/>
    <p:sldLayoutId id="2147483936" r:id="rId22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323851" y="6021389"/>
            <a:ext cx="19446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fi-FI">
              <a:solidFill>
                <a:srgbClr val="58585A"/>
              </a:solidFill>
            </a:endParaRPr>
          </a:p>
        </p:txBody>
      </p:sp>
      <p:pic>
        <p:nvPicPr>
          <p:cNvPr id="1027" name="Kuva 8" descr="ELY_logo_väri.gif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84165" y="285751"/>
            <a:ext cx="47021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6713539" y="6357939"/>
            <a:ext cx="13573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C54F04E-6CCA-4BA4-8B93-BB041D37F406}" type="datetime1">
              <a:rPr lang="fi-FI">
                <a:solidFill>
                  <a:srgbClr val="58585A"/>
                </a:solidFill>
              </a:rPr>
              <a:pPr>
                <a:defRPr/>
              </a:pPr>
              <a:t>1.9.2016</a:t>
            </a:fld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284165" y="6357939"/>
            <a:ext cx="6357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fi-FI">
                <a:solidFill>
                  <a:srgbClr val="58585A"/>
                </a:solidFill>
              </a:rPr>
              <a:t>Pohjois-Pohjanmaan elinkeino-, liikenne- ja ympäristökeskus</a:t>
            </a:r>
            <a:endParaRPr lang="fi-FI" dirty="0">
              <a:solidFill>
                <a:srgbClr val="58585A"/>
              </a:solidFill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215313" y="6356351"/>
            <a:ext cx="4000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E5D68E35-E5A3-4001-98C3-F6F9088150B5}" type="slidenum">
              <a:rPr lang="fi-FI">
                <a:solidFill>
                  <a:srgbClr val="58585A"/>
                </a:solidFill>
              </a:rPr>
              <a:pPr>
                <a:defRPr/>
              </a:pPr>
              <a:t>‹#›</a:t>
            </a:fld>
            <a:endParaRPr lang="fi-FI" dirty="0">
              <a:solidFill>
                <a:srgbClr val="5858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269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Verdana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50000"/>
        <a:buFont typeface="Wingdings" pitchFamily="2" charset="2"/>
        <a:buChar char="§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50000"/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8915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8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1"/>
          <p:cNvSpPr txBox="1">
            <a:spLocks/>
          </p:cNvSpPr>
          <p:nvPr/>
        </p:nvSpPr>
        <p:spPr bwMode="auto">
          <a:xfrm>
            <a:off x="335570" y="2564904"/>
            <a:ext cx="8229600" cy="17145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fi-FI" sz="2800" b="1" dirty="0" err="1">
                <a:solidFill>
                  <a:srgbClr val="FFFFFF"/>
                </a:solidFill>
                <a:cs typeface="+mn-cs"/>
              </a:rPr>
              <a:t>Pohjois-Pohjanmaan</a:t>
            </a:r>
            <a:r>
              <a:rPr lang="fi-FI" sz="2800" b="1" dirty="0">
                <a:solidFill>
                  <a:srgbClr val="FFFFFF"/>
                </a:solidFill>
                <a:cs typeface="+mn-cs"/>
              </a:rPr>
              <a:t> elinkeino-, liikenne- ja </a:t>
            </a:r>
            <a:r>
              <a:rPr lang="fi-FI" sz="2800" b="1" dirty="0" smtClean="0">
                <a:solidFill>
                  <a:srgbClr val="FFFFFF"/>
                </a:solidFill>
                <a:cs typeface="+mn-cs"/>
              </a:rPr>
              <a:t>ympäristökeskus</a:t>
            </a:r>
          </a:p>
          <a:p>
            <a:pPr lvl="0" algn="ctr"/>
            <a:endParaRPr lang="fi-FI" sz="2800" b="1" dirty="0">
              <a:solidFill>
                <a:srgbClr val="FFFFFF"/>
              </a:solidFill>
              <a:cs typeface="+mn-cs"/>
            </a:endParaRPr>
          </a:p>
          <a:p>
            <a:pPr algn="ctr">
              <a:defRPr/>
            </a:pPr>
            <a:r>
              <a:rPr lang="fi-FI" sz="2000" b="1" dirty="0" smtClean="0">
                <a:solidFill>
                  <a:schemeClr val="bg1"/>
                </a:solidFill>
              </a:rPr>
              <a:t>Keskustelutilaisuus </a:t>
            </a:r>
            <a:r>
              <a:rPr lang="fi-FI" sz="2000" b="1" dirty="0">
                <a:solidFill>
                  <a:schemeClr val="bg1"/>
                </a:solidFill>
              </a:rPr>
              <a:t>erikoiskuljetusten uudistuvasta lupaprosessista </a:t>
            </a:r>
            <a:r>
              <a:rPr lang="fi-FI" sz="3200" b="1" dirty="0"/>
              <a:t/>
            </a:r>
            <a:br>
              <a:rPr lang="fi-FI" sz="3200" b="1" dirty="0"/>
            </a:br>
            <a:endParaRPr lang="fi-FI" sz="3200" b="1" dirty="0"/>
          </a:p>
          <a:p>
            <a:pPr lvl="0" algn="ctr">
              <a:defRPr/>
            </a:pPr>
            <a:endParaRPr lang="fi-FI" sz="32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Tekstin paikkamerkki 2"/>
          <p:cNvSpPr txBox="1">
            <a:spLocks/>
          </p:cNvSpPr>
          <p:nvPr/>
        </p:nvSpPr>
        <p:spPr bwMode="auto">
          <a:xfrm>
            <a:off x="1952476" y="4509120"/>
            <a:ext cx="4995788" cy="208318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892" indent="-342892" algn="ctr">
              <a:spcBef>
                <a:spcPct val="20000"/>
              </a:spcBef>
              <a:buClr>
                <a:srgbClr val="FDD078"/>
              </a:buClr>
              <a:buSzPct val="150000"/>
              <a:defRPr/>
            </a:pPr>
            <a:endParaRPr lang="fi-FI" kern="0" dirty="0">
              <a:solidFill>
                <a:srgbClr val="FFFFFF"/>
              </a:solidFill>
              <a:latin typeface="Arial"/>
            </a:endParaRPr>
          </a:p>
          <a:p>
            <a:pPr marL="342892" indent="-342892" algn="ctr">
              <a:spcBef>
                <a:spcPct val="20000"/>
              </a:spcBef>
              <a:buClr>
                <a:srgbClr val="FDD078"/>
              </a:buClr>
              <a:buSzPct val="150000"/>
              <a:defRPr/>
            </a:pPr>
            <a:r>
              <a:rPr lang="fi-FI" kern="0" dirty="0" smtClean="0">
                <a:solidFill>
                  <a:srgbClr val="FFFFFF"/>
                </a:solidFill>
                <a:latin typeface="Arial"/>
              </a:rPr>
              <a:t>1.9..</a:t>
            </a:r>
            <a:r>
              <a:rPr lang="fi-FI" kern="0" dirty="0" smtClean="0">
                <a:solidFill>
                  <a:srgbClr val="FFFFFF"/>
                </a:solidFill>
                <a:latin typeface="Arial"/>
              </a:rPr>
              <a:t>2016</a:t>
            </a:r>
          </a:p>
          <a:p>
            <a:pPr marL="342892" indent="-342892" algn="ctr">
              <a:spcBef>
                <a:spcPct val="20000"/>
              </a:spcBef>
              <a:buClr>
                <a:srgbClr val="FDD078"/>
              </a:buClr>
              <a:buSzPct val="150000"/>
              <a:defRPr/>
            </a:pPr>
            <a:endParaRPr lang="fi-FI" kern="0" dirty="0" smtClean="0">
              <a:solidFill>
                <a:srgbClr val="FFFFFF"/>
              </a:solidFill>
              <a:latin typeface="Arial"/>
            </a:endParaRPr>
          </a:p>
          <a:p>
            <a:pPr marL="342892" indent="-342892" algn="ctr">
              <a:spcBef>
                <a:spcPct val="20000"/>
              </a:spcBef>
              <a:buClr>
                <a:srgbClr val="FDD078"/>
              </a:buClr>
              <a:buSzPct val="150000"/>
              <a:defRPr/>
            </a:pPr>
            <a:r>
              <a:rPr lang="fi-FI" sz="1600" kern="0" dirty="0">
                <a:solidFill>
                  <a:srgbClr val="FFFFFF"/>
                </a:solidFill>
                <a:latin typeface="Arial"/>
              </a:rPr>
              <a:t>Ylijohtaja</a:t>
            </a:r>
          </a:p>
          <a:p>
            <a:pPr marL="342892" indent="-342892" algn="ctr">
              <a:spcBef>
                <a:spcPct val="20000"/>
              </a:spcBef>
              <a:buClr>
                <a:srgbClr val="FDD078"/>
              </a:buClr>
              <a:buSzPct val="150000"/>
              <a:defRPr/>
            </a:pPr>
            <a:r>
              <a:rPr lang="fi-FI" sz="1600" kern="0" dirty="0">
                <a:solidFill>
                  <a:srgbClr val="FFFFFF"/>
                </a:solidFill>
                <a:latin typeface="Arial"/>
              </a:rPr>
              <a:t>Matti Räinä</a:t>
            </a:r>
          </a:p>
        </p:txBody>
      </p:sp>
    </p:spTree>
    <p:extLst>
      <p:ext uri="{BB962C8B-B14F-4D97-AF65-F5344CB8AC3E}">
        <p14:creationId xmlns:p14="http://schemas.microsoft.com/office/powerpoint/2010/main" val="2805306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78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395536" y="1052736"/>
            <a:ext cx="8229600" cy="50323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i-FI" sz="2200" b="1" dirty="0">
                <a:solidFill>
                  <a:srgbClr val="000000"/>
                </a:solidFill>
              </a:rPr>
              <a:t>Toimenpiteet ja kustannukset / yhteenveto </a:t>
            </a:r>
            <a:endParaRPr lang="fi-FI" sz="2200" b="1" i="1" dirty="0">
              <a:solidFill>
                <a:srgbClr val="000000"/>
              </a:solidFill>
            </a:endParaRPr>
          </a:p>
        </p:txBody>
      </p:sp>
      <p:sp>
        <p:nvSpPr>
          <p:cNvPr id="7" name="Tekstikehys 6"/>
          <p:cNvSpPr txBox="1"/>
          <p:nvPr/>
        </p:nvSpPr>
        <p:spPr>
          <a:xfrm>
            <a:off x="467544" y="6021288"/>
            <a:ext cx="1512168" cy="646331"/>
          </a:xfrm>
          <a:prstGeom prst="rect">
            <a:avLst/>
          </a:prstGeom>
          <a:solidFill>
            <a:srgbClr val="97D18F"/>
          </a:solidFill>
        </p:spPr>
        <p:txBody>
          <a:bodyPr wrap="square" rtlCol="0">
            <a:spAutoFit/>
          </a:bodyPr>
          <a:lstStyle/>
          <a:p>
            <a:r>
              <a:rPr lang="fi-FI" dirty="0" smtClean="0">
                <a:solidFill>
                  <a:prstClr val="black"/>
                </a:solidFill>
              </a:rPr>
              <a:t>1. LTA 2015</a:t>
            </a:r>
          </a:p>
          <a:p>
            <a:endParaRPr lang="fi-FI" dirty="0">
              <a:solidFill>
                <a:prstClr val="black"/>
              </a:solidFill>
            </a:endParaRPr>
          </a:p>
        </p:txBody>
      </p:sp>
      <p:sp>
        <p:nvSpPr>
          <p:cNvPr id="8" name="Tekstikehys 7"/>
          <p:cNvSpPr txBox="1"/>
          <p:nvPr/>
        </p:nvSpPr>
        <p:spPr>
          <a:xfrm>
            <a:off x="467544" y="5085184"/>
            <a:ext cx="1512168" cy="646331"/>
          </a:xfrm>
          <a:prstGeom prst="rect">
            <a:avLst/>
          </a:prstGeom>
          <a:solidFill>
            <a:srgbClr val="FFFF00">
              <a:alpha val="44000"/>
            </a:srgbClr>
          </a:solidFill>
        </p:spPr>
        <p:txBody>
          <a:bodyPr wrap="square" rtlCol="0">
            <a:spAutoFit/>
          </a:bodyPr>
          <a:lstStyle/>
          <a:p>
            <a:r>
              <a:rPr lang="fi-FI" dirty="0" smtClean="0">
                <a:solidFill>
                  <a:prstClr val="black"/>
                </a:solidFill>
              </a:rPr>
              <a:t>TA 2015</a:t>
            </a:r>
          </a:p>
          <a:p>
            <a:endParaRPr lang="fi-FI" dirty="0">
              <a:solidFill>
                <a:prstClr val="black"/>
              </a:solidFill>
            </a:endParaRPr>
          </a:p>
        </p:txBody>
      </p:sp>
      <p:pic>
        <p:nvPicPr>
          <p:cNvPr id="9" name="Picture 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53546" y="5305955"/>
            <a:ext cx="1655762" cy="204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23729" y="5892834"/>
            <a:ext cx="739775" cy="865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768613"/>
            <a:ext cx="5724000" cy="4972755"/>
          </a:xfrm>
          <a:prstGeom prst="rect">
            <a:avLst/>
          </a:prstGeom>
          <a:noFill/>
          <a:ln>
            <a:noFill/>
          </a:ln>
          <a:effectLst>
            <a:outerShdw blurRad="4191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Taulukko 3"/>
          <p:cNvGraphicFramePr>
            <a:graphicFrameLocks noGrp="1"/>
          </p:cNvGraphicFramePr>
          <p:nvPr>
            <p:extLst/>
          </p:nvPr>
        </p:nvGraphicFramePr>
        <p:xfrm>
          <a:off x="323528" y="1772816"/>
          <a:ext cx="4032660" cy="2532634"/>
        </p:xfrm>
        <a:graphic>
          <a:graphicData uri="http://schemas.openxmlformats.org/drawingml/2006/table">
            <a:tbl>
              <a:tblPr>
                <a:effectLst>
                  <a:reflection endPos="0" dist="50800" dir="5400000" sy="-100000" algn="bl" rotWithShape="0"/>
                </a:effectLst>
              </a:tblPr>
              <a:tblGrid>
                <a:gridCol w="3024548"/>
                <a:gridCol w="1008112"/>
              </a:tblGrid>
              <a:tr h="360040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ts val="13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fi-FI" sz="1600" b="1" i="0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Toimenpideryhmä</a:t>
                      </a:r>
                      <a:endParaRPr lang="fi-FI" sz="1600" b="1" i="0" u="none" strike="noStrike" kern="120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8573" marR="68573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ts val="1000"/>
                        </a:lnSpc>
                        <a:spcBef>
                          <a:spcPts val="900"/>
                        </a:spcBef>
                        <a:spcAft>
                          <a:spcPts val="600"/>
                        </a:spcAft>
                      </a:pPr>
                      <a:r>
                        <a:rPr lang="fi-FI" sz="1600" b="1" i="0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M€</a:t>
                      </a:r>
                      <a:endParaRPr lang="fi-FI" sz="1600" b="1" i="0" u="none" strike="noStrike" kern="120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8573" marR="68573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33542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i-FI" sz="1500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Fennovoiman</a:t>
                      </a:r>
                      <a:r>
                        <a:rPr lang="fi-FI" sz="1500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 tieyhteys (jälkirahoitus)</a:t>
                      </a:r>
                      <a:endParaRPr lang="fi-FI" sz="1500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73" marR="68573" marT="76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i-FI" sz="1500" b="0" dirty="0" smtClean="0">
                          <a:solidFill>
                            <a:schemeClr val="tx1"/>
                          </a:solidFill>
                          <a:effectLst/>
                          <a:latin typeface="Felbridge Pro"/>
                          <a:ea typeface="Times New Roman"/>
                          <a:cs typeface="Arial"/>
                        </a:rPr>
                        <a:t>7,4</a:t>
                      </a:r>
                      <a:endParaRPr lang="fi-FI" sz="1500" b="0" dirty="0">
                        <a:solidFill>
                          <a:schemeClr val="tx1"/>
                        </a:solidFill>
                        <a:effectLst/>
                        <a:latin typeface="Felbridge Pro"/>
                        <a:ea typeface="Times New Roman"/>
                        <a:cs typeface="Arial"/>
                      </a:endParaRPr>
                    </a:p>
                  </a:txBody>
                  <a:tcPr marL="68573" marR="68573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224136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i-FI" sz="1500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Valtatien 8 </a:t>
                      </a:r>
                      <a:r>
                        <a:rPr lang="fi-FI" sz="1500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siltojen, pääliittymien, liikenteen sujuvuuden sekä</a:t>
                      </a:r>
                      <a:r>
                        <a:rPr lang="fi-FI" sz="1500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 muun liikenneturvallisuuden</a:t>
                      </a:r>
                      <a:r>
                        <a:rPr lang="fi-FI" sz="1500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 </a:t>
                      </a:r>
                      <a:r>
                        <a:rPr lang="fi-FI" sz="1500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parantaminen</a:t>
                      </a:r>
                    </a:p>
                  </a:txBody>
                  <a:tcPr marL="68573" marR="68573" marT="76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D18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i-FI" sz="1500" b="0" dirty="0" smtClean="0">
                          <a:solidFill>
                            <a:schemeClr val="tx1"/>
                          </a:solidFill>
                          <a:effectLst/>
                          <a:latin typeface="Felbridge Pro"/>
                          <a:ea typeface="Times New Roman"/>
                          <a:cs typeface="Arial"/>
                        </a:rPr>
                        <a:t>22,5</a:t>
                      </a:r>
                      <a:endParaRPr lang="fi-FI" sz="1500" b="0" dirty="0">
                        <a:solidFill>
                          <a:schemeClr val="tx1"/>
                        </a:solidFill>
                        <a:effectLst/>
                        <a:latin typeface="Felbridge Pro"/>
                        <a:ea typeface="Times New Roman"/>
                        <a:cs typeface="Arial"/>
                      </a:endParaRPr>
                    </a:p>
                  </a:txBody>
                  <a:tcPr marL="68573" marR="68573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D18F"/>
                    </a:solidFill>
                  </a:tcPr>
                </a:tc>
              </a:tr>
              <a:tr h="314916">
                <a:tc>
                  <a:txBody>
                    <a:bodyPr/>
                    <a:lstStyle/>
                    <a:p>
                      <a:pPr algn="r">
                        <a:lnSpc>
                          <a:spcPts val="13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fi-FI" sz="1500" b="1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Arial"/>
                        </a:rPr>
                        <a:t>Yhteensä</a:t>
                      </a:r>
                      <a:endParaRPr lang="fi-FI" sz="1500" b="1" dirty="0">
                        <a:solidFill>
                          <a:srgbClr val="000000"/>
                        </a:solidFill>
                        <a:effectLst/>
                        <a:latin typeface="Felbridge Pro"/>
                        <a:ea typeface="Times New Roman"/>
                        <a:cs typeface="Arial"/>
                      </a:endParaRPr>
                    </a:p>
                  </a:txBody>
                  <a:tcPr marL="68573" marR="68573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fi-FI" sz="1500" b="1" dirty="0" smtClean="0">
                          <a:solidFill>
                            <a:schemeClr val="tx1"/>
                          </a:solidFill>
                          <a:effectLst/>
                          <a:latin typeface="Felbridge Pro"/>
                          <a:ea typeface="Times New Roman"/>
                          <a:cs typeface="Arial"/>
                        </a:rPr>
                        <a:t>29,9 M€</a:t>
                      </a:r>
                      <a:endParaRPr lang="fi-FI" sz="1500" b="1" dirty="0">
                        <a:solidFill>
                          <a:schemeClr val="tx1"/>
                        </a:solidFill>
                        <a:effectLst/>
                        <a:latin typeface="Felbridge Pro"/>
                        <a:ea typeface="Times New Roman"/>
                        <a:cs typeface="Arial"/>
                      </a:endParaRPr>
                    </a:p>
                  </a:txBody>
                  <a:tcPr marL="68573" marR="68573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787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endParaRPr lang="fi-FI" altLang="fi-FI" smtClean="0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/>
          <a:p>
            <a:endParaRPr lang="fi-FI" altLang="fi-FI" smtClean="0"/>
          </a:p>
        </p:txBody>
      </p:sp>
      <p:pic>
        <p:nvPicPr>
          <p:cNvPr id="34820" name="Picture 16" descr="vt22_havainnekuva_17-9-2014_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6"/>
          <a:stretch>
            <a:fillRect/>
          </a:stretch>
        </p:blipFill>
        <p:spPr bwMode="auto">
          <a:xfrm>
            <a:off x="0" y="1"/>
            <a:ext cx="9144000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79112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v4_oulu_kemi_tavoitetila_hailuot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94" t="65176" r="20316" b="11502"/>
          <a:stretch>
            <a:fillRect/>
          </a:stretch>
        </p:blipFill>
        <p:spPr bwMode="auto">
          <a:xfrm>
            <a:off x="6588126" y="0"/>
            <a:ext cx="2555875" cy="145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1" name="Picture 5" descr="Tie_pieni res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705" b="30705"/>
          <a:stretch>
            <a:fillRect/>
          </a:stretch>
        </p:blipFill>
        <p:spPr bwMode="auto">
          <a:xfrm>
            <a:off x="0" y="4557714"/>
            <a:ext cx="9144000" cy="230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Otsikko 1"/>
          <p:cNvSpPr>
            <a:spLocks noGrp="1"/>
          </p:cNvSpPr>
          <p:nvPr>
            <p:ph type="title"/>
          </p:nvPr>
        </p:nvSpPr>
        <p:spPr>
          <a:xfrm>
            <a:off x="395288" y="1052513"/>
            <a:ext cx="7056437" cy="1143000"/>
          </a:xfrm>
        </p:spPr>
        <p:txBody>
          <a:bodyPr anchor="t"/>
          <a:lstStyle/>
          <a:p>
            <a:r>
              <a:rPr lang="fi-FI" altLang="fi-FI" sz="3200">
                <a:solidFill>
                  <a:srgbClr val="0033CC"/>
                </a:solidFill>
              </a:rPr>
              <a:t>Hailuodon liikenneyhteyden kehittämiseen ratkaisu</a:t>
            </a:r>
          </a:p>
        </p:txBody>
      </p:sp>
      <p:sp>
        <p:nvSpPr>
          <p:cNvPr id="37893" name="Tekstikehys 3"/>
          <p:cNvSpPr txBox="1">
            <a:spLocks noChangeArrowheads="1"/>
          </p:cNvSpPr>
          <p:nvPr/>
        </p:nvSpPr>
        <p:spPr bwMode="auto">
          <a:xfrm>
            <a:off x="0" y="2060575"/>
            <a:ext cx="8748713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28663" indent="-277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85863" indent="-277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algn="ctr">
              <a:spcBef>
                <a:spcPct val="0"/>
              </a:spcBef>
              <a:buFontTx/>
              <a:buChar char="•"/>
            </a:pPr>
            <a:endParaRPr lang="fi-FI" altLang="fi-FI" sz="2000" dirty="0">
              <a:solidFill>
                <a:srgbClr val="58585A"/>
              </a:solidFill>
            </a:endParaRPr>
          </a:p>
          <a:p>
            <a:pPr lvl="1" algn="ctr">
              <a:spcBef>
                <a:spcPct val="0"/>
              </a:spcBef>
              <a:buFontTx/>
              <a:buChar char="•"/>
            </a:pPr>
            <a:r>
              <a:rPr lang="fi-FI" altLang="fi-FI" sz="2000">
                <a:solidFill>
                  <a:srgbClr val="58585A"/>
                </a:solidFill>
              </a:rPr>
              <a:t>Natura </a:t>
            </a:r>
            <a:r>
              <a:rPr lang="fi-FI" altLang="fi-FI" sz="2000" dirty="0">
                <a:solidFill>
                  <a:srgbClr val="58585A"/>
                </a:solidFill>
              </a:rPr>
              <a:t>ei este</a:t>
            </a:r>
          </a:p>
          <a:p>
            <a:pPr lvl="1" algn="ctr">
              <a:spcBef>
                <a:spcPct val="0"/>
              </a:spcBef>
              <a:buFontTx/>
              <a:buChar char="•"/>
            </a:pPr>
            <a:r>
              <a:rPr lang="fi-FI" altLang="fi-FI" sz="2000" dirty="0">
                <a:solidFill>
                  <a:srgbClr val="58585A"/>
                </a:solidFill>
              </a:rPr>
              <a:t>Osayleiskaavat ja yleissuunnitelma valmistuneet</a:t>
            </a:r>
          </a:p>
          <a:p>
            <a:pPr lvl="2" algn="ctr">
              <a:spcBef>
                <a:spcPct val="0"/>
              </a:spcBef>
            </a:pPr>
            <a:r>
              <a:rPr lang="fi-FI" altLang="fi-FI" sz="2000" dirty="0">
                <a:solidFill>
                  <a:srgbClr val="58585A"/>
                </a:solidFill>
              </a:rPr>
              <a:t>Kustannusarvio 70 M€</a:t>
            </a:r>
          </a:p>
          <a:p>
            <a:pPr lvl="2" algn="ctr">
              <a:spcBef>
                <a:spcPct val="0"/>
              </a:spcBef>
            </a:pPr>
            <a:r>
              <a:rPr lang="fi-FI" altLang="fi-FI" sz="2000" dirty="0">
                <a:solidFill>
                  <a:srgbClr val="58585A"/>
                </a:solidFill>
              </a:rPr>
              <a:t>Pitkällä aikavälillä taloudellinen ratkaisu</a:t>
            </a:r>
          </a:p>
          <a:p>
            <a:pPr algn="ctr">
              <a:spcBef>
                <a:spcPct val="0"/>
              </a:spcBef>
            </a:pPr>
            <a:endParaRPr lang="fi-FI" altLang="fi-FI" sz="2000" dirty="0">
              <a:solidFill>
                <a:srgbClr val="58585A"/>
              </a:solidFill>
            </a:endParaRPr>
          </a:p>
          <a:p>
            <a:pPr algn="ctr">
              <a:spcBef>
                <a:spcPct val="0"/>
              </a:spcBef>
            </a:pPr>
            <a:endParaRPr lang="fi-FI" altLang="fi-FI" sz="2000" dirty="0">
              <a:solidFill>
                <a:srgbClr val="58585A"/>
              </a:solidFill>
            </a:endParaRPr>
          </a:p>
        </p:txBody>
      </p:sp>
      <p:sp>
        <p:nvSpPr>
          <p:cNvPr id="37894" name="Rectangle 8"/>
          <p:cNvSpPr>
            <a:spLocks noChangeArrowheads="1"/>
          </p:cNvSpPr>
          <p:nvPr/>
        </p:nvSpPr>
        <p:spPr bwMode="auto">
          <a:xfrm>
            <a:off x="250825" y="3429000"/>
            <a:ext cx="8281988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</a:pPr>
            <a:endParaRPr lang="fi-FI" altLang="fi-FI" sz="2400" dirty="0">
              <a:solidFill>
                <a:srgbClr val="58585A"/>
              </a:solidFill>
            </a:endParaRPr>
          </a:p>
          <a:p>
            <a:pPr algn="ctr">
              <a:spcBef>
                <a:spcPct val="0"/>
              </a:spcBef>
            </a:pPr>
            <a:r>
              <a:rPr lang="fi-FI" altLang="fi-FI" sz="2000" b="1" dirty="0">
                <a:solidFill>
                  <a:srgbClr val="008000"/>
                </a:solidFill>
              </a:rPr>
              <a:t>Poliittisesti ratkaistava liikenneyhteyden kehittämine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i-FI" altLang="fi-FI" sz="2000" b="1" dirty="0">
                <a:solidFill>
                  <a:srgbClr val="008000"/>
                </a:solidFill>
              </a:rPr>
              <a:t>    joko lauttaliikenteenä tai kiinteän yhteyden toteuttaminen</a:t>
            </a:r>
          </a:p>
        </p:txBody>
      </p:sp>
      <p:sp>
        <p:nvSpPr>
          <p:cNvPr id="37895" name="Alatunnisteen paikkamerkki 5"/>
          <p:cNvSpPr txBox="1">
            <a:spLocks noGrp="1"/>
          </p:cNvSpPr>
          <p:nvPr/>
        </p:nvSpPr>
        <p:spPr bwMode="auto">
          <a:xfrm>
            <a:off x="6804026" y="6619875"/>
            <a:ext cx="2879725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i-FI" altLang="fi-FI" sz="800">
                <a:solidFill>
                  <a:srgbClr val="58585A"/>
                </a:solidFill>
              </a:rPr>
              <a:t>Pohjois-Pohjanmaan kärkitehtävät 2012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fi-FI" altLang="fi-FI" sz="1400">
              <a:solidFill>
                <a:srgbClr val="58585A"/>
              </a:solidFill>
            </a:endParaRPr>
          </a:p>
        </p:txBody>
      </p:sp>
      <p:sp>
        <p:nvSpPr>
          <p:cNvPr id="37896" name="Text Box 11"/>
          <p:cNvSpPr txBox="1">
            <a:spLocks noChangeArrowheads="1"/>
          </p:cNvSpPr>
          <p:nvPr/>
        </p:nvSpPr>
        <p:spPr bwMode="auto">
          <a:xfrm>
            <a:off x="323850" y="6643688"/>
            <a:ext cx="33115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fi-FI" altLang="fi-FI" sz="800">
                <a:solidFill>
                  <a:srgbClr val="58585A"/>
                </a:solidFill>
              </a:rPr>
              <a:t>Havainnekuva WSP Environmental Oy.</a:t>
            </a:r>
          </a:p>
        </p:txBody>
      </p:sp>
      <p:sp>
        <p:nvSpPr>
          <p:cNvPr id="37897" name="Päivämäärän paikkamerkki 9"/>
          <p:cNvSpPr>
            <a:spLocks noGrp="1"/>
          </p:cNvSpPr>
          <p:nvPr>
            <p:ph type="dt" sz="quarter" idx="4294967295"/>
          </p:nvPr>
        </p:nvSpPr>
        <p:spPr>
          <a:xfrm>
            <a:off x="6713538" y="6357939"/>
            <a:ext cx="1357312" cy="3651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31" indent="-28574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972" indent="-228594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160" indent="-228594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348" indent="-228594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537" indent="-228594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726" indent="-228594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8915" indent="-228594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103" indent="-228594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58585A"/>
                </a:solidFill>
              </a:rPr>
              <a:t>16.8.2012</a:t>
            </a:r>
          </a:p>
        </p:txBody>
      </p:sp>
    </p:spTree>
    <p:extLst>
      <p:ext uri="{BB962C8B-B14F-4D97-AF65-F5344CB8AC3E}">
        <p14:creationId xmlns:p14="http://schemas.microsoft.com/office/powerpoint/2010/main" val="41616971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5" name="Kuva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64705"/>
            <a:ext cx="9303447" cy="5095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048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i-FI" b="1" dirty="0" smtClean="0"/>
              <a:t>Korjausvelkarahoitus 2016 - 2019</a:t>
            </a:r>
            <a:endParaRPr lang="fi-FI" b="1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i-FI" dirty="0">
                <a:solidFill>
                  <a:srgbClr val="0070C0"/>
                </a:solidFill>
              </a:rPr>
              <a:t>Hallitusohjelman mukaan korjausvelan kasvun pysäyttämiseen ja sen hallittuun vähentämiseen on rahoitusta käytettävissä vuosina </a:t>
            </a:r>
            <a:r>
              <a:rPr lang="fi-FI" b="1" dirty="0">
                <a:solidFill>
                  <a:srgbClr val="0070C0"/>
                </a:solidFill>
              </a:rPr>
              <a:t>2016 -2018 yhteensä 600 milj.</a:t>
            </a:r>
            <a:r>
              <a:rPr lang="fi-FI" dirty="0">
                <a:solidFill>
                  <a:srgbClr val="0070C0"/>
                </a:solidFill>
              </a:rPr>
              <a:t>€, josta 100 milj.€ vuodelle 2016. </a:t>
            </a:r>
            <a:endParaRPr lang="fi-FI" dirty="0" smtClean="0">
              <a:solidFill>
                <a:srgbClr val="0070C0"/>
              </a:solidFill>
            </a:endParaRPr>
          </a:p>
          <a:p>
            <a:pPr marL="400040" lvl="1" indent="0"/>
            <a:r>
              <a:rPr lang="fi-FI" b="1" dirty="0" smtClean="0">
                <a:solidFill>
                  <a:srgbClr val="0070C0"/>
                </a:solidFill>
              </a:rPr>
              <a:t>Julkistettiin 5.2.2016</a:t>
            </a:r>
          </a:p>
          <a:p>
            <a:pPr marL="0" indent="0">
              <a:buNone/>
            </a:pPr>
            <a:endParaRPr lang="fi-FI" dirty="0"/>
          </a:p>
          <a:p>
            <a:r>
              <a:rPr lang="fi-FI" dirty="0"/>
              <a:t>Lisäksi hallitus kohdentaa korjausvelan vähentämiseen yhteensä </a:t>
            </a:r>
            <a:r>
              <a:rPr lang="fi-FI" b="1" dirty="0"/>
              <a:t>364 milj.€ vuosina 2017 - 2019 </a:t>
            </a:r>
            <a:r>
              <a:rPr lang="fi-FI" dirty="0"/>
              <a:t>liikennehankeinvestointien määrärahoja perusväylänpitoon ja yksityisteiden avustuksiin</a:t>
            </a:r>
            <a:r>
              <a:rPr lang="fi-FI" dirty="0" smtClean="0"/>
              <a:t>. </a:t>
            </a:r>
          </a:p>
          <a:p>
            <a:pPr marL="400040" lvl="1" indent="0"/>
            <a:r>
              <a:rPr lang="fi-FI" b="1" dirty="0">
                <a:solidFill>
                  <a:srgbClr val="0070C0"/>
                </a:solidFill>
              </a:rPr>
              <a:t>Julkistettiin 9</a:t>
            </a:r>
            <a:r>
              <a:rPr lang="fi-FI" b="1" dirty="0" smtClean="0">
                <a:solidFill>
                  <a:srgbClr val="0070C0"/>
                </a:solidFill>
              </a:rPr>
              <a:t>.6.2016</a:t>
            </a:r>
            <a:endParaRPr lang="fi-FI" b="1" dirty="0">
              <a:solidFill>
                <a:srgbClr val="0070C0"/>
              </a:solidFill>
            </a:endParaRPr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smtClean="0">
                <a:solidFill>
                  <a:prstClr val="black">
                    <a:tint val="75000"/>
                  </a:prstClr>
                </a:solidFill>
              </a:rPr>
              <a:t>Pohjois-Pohjanmaan ELY            Timo Mäkikyrö </a:t>
            </a:r>
            <a:endParaRPr lang="fi-FI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510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4400" y="-171400"/>
            <a:ext cx="6959600" cy="6867114"/>
          </a:xfrm>
          <a:prstGeom prst="rect">
            <a:avLst/>
          </a:prstGeom>
        </p:spPr>
      </p:pic>
      <p:sp>
        <p:nvSpPr>
          <p:cNvPr id="6" name="Ellipsi 5"/>
          <p:cNvSpPr/>
          <p:nvPr/>
        </p:nvSpPr>
        <p:spPr>
          <a:xfrm>
            <a:off x="4073532" y="4186238"/>
            <a:ext cx="228520" cy="22122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kstiruutu 6"/>
          <p:cNvSpPr txBox="1"/>
          <p:nvPr/>
        </p:nvSpPr>
        <p:spPr>
          <a:xfrm>
            <a:off x="3112046" y="4139446"/>
            <a:ext cx="16974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100" dirty="0" err="1"/>
              <a:t>Mankilankylän</a:t>
            </a:r>
            <a:r>
              <a:rPr lang="fi-FI" sz="1100" dirty="0"/>
              <a:t> tulvakohteet</a:t>
            </a:r>
          </a:p>
        </p:txBody>
      </p:sp>
      <p:pic>
        <p:nvPicPr>
          <p:cNvPr id="12" name="Kuva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837" y="149820"/>
            <a:ext cx="1569356" cy="580571"/>
          </a:xfrm>
          <a:prstGeom prst="rect">
            <a:avLst/>
          </a:prstGeom>
        </p:spPr>
      </p:pic>
      <p:sp>
        <p:nvSpPr>
          <p:cNvPr id="13" name="Suorakulmio 12"/>
          <p:cNvSpPr/>
          <p:nvPr/>
        </p:nvSpPr>
        <p:spPr>
          <a:xfrm>
            <a:off x="6953754" y="5994401"/>
            <a:ext cx="13339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900" dirty="0"/>
              <a:t> © Karttakeskus L4356</a:t>
            </a:r>
          </a:p>
        </p:txBody>
      </p:sp>
      <p:sp>
        <p:nvSpPr>
          <p:cNvPr id="14" name="Tekstiruutu 13"/>
          <p:cNvSpPr txBox="1"/>
          <p:nvPr/>
        </p:nvSpPr>
        <p:spPr>
          <a:xfrm>
            <a:off x="256486" y="748184"/>
            <a:ext cx="3805594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b="1" dirty="0" err="1" smtClean="0"/>
              <a:t>Pohjois</a:t>
            </a:r>
            <a:r>
              <a:rPr lang="fi-FI" b="1" dirty="0" smtClean="0"/>
              <a:t>-Pohjanmaan ELY-keskus</a:t>
            </a:r>
          </a:p>
          <a:p>
            <a:endParaRPr lang="fi-FI" sz="900" b="1" dirty="0"/>
          </a:p>
          <a:p>
            <a:r>
              <a:rPr lang="fi-FI" b="1" dirty="0" smtClean="0"/>
              <a:t>Korjausvelkakohteet</a:t>
            </a:r>
            <a:endParaRPr lang="fi-FI" b="1" dirty="0"/>
          </a:p>
        </p:txBody>
      </p:sp>
      <p:pic>
        <p:nvPicPr>
          <p:cNvPr id="15" name="Kuva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828" y="1669020"/>
            <a:ext cx="2631239" cy="779297"/>
          </a:xfrm>
          <a:prstGeom prst="rect">
            <a:avLst/>
          </a:prstGeom>
        </p:spPr>
      </p:pic>
      <p:pic>
        <p:nvPicPr>
          <p:cNvPr id="5" name="Kuva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828" y="2477347"/>
            <a:ext cx="2618495" cy="1102835"/>
          </a:xfrm>
          <a:prstGeom prst="rect">
            <a:avLst/>
          </a:prstGeom>
        </p:spPr>
      </p:pic>
      <p:pic>
        <p:nvPicPr>
          <p:cNvPr id="8" name="Kuva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828" y="3568442"/>
            <a:ext cx="1922389" cy="3199681"/>
          </a:xfrm>
          <a:prstGeom prst="rect">
            <a:avLst/>
          </a:prstGeom>
        </p:spPr>
      </p:pic>
      <p:sp>
        <p:nvSpPr>
          <p:cNvPr id="9" name="Tekstiruutu 8"/>
          <p:cNvSpPr txBox="1"/>
          <p:nvPr/>
        </p:nvSpPr>
        <p:spPr>
          <a:xfrm>
            <a:off x="5271040" y="3782367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/>
              <a:t>St 800</a:t>
            </a:r>
          </a:p>
        </p:txBody>
      </p:sp>
      <p:sp>
        <p:nvSpPr>
          <p:cNvPr id="16" name="Tekstiruutu 15"/>
          <p:cNvSpPr txBox="1"/>
          <p:nvPr/>
        </p:nvSpPr>
        <p:spPr>
          <a:xfrm>
            <a:off x="4244464" y="1869159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/>
              <a:t>St 855</a:t>
            </a:r>
          </a:p>
        </p:txBody>
      </p:sp>
      <p:sp>
        <p:nvSpPr>
          <p:cNvPr id="17" name="Tekstiruutu 16"/>
          <p:cNvSpPr txBox="1"/>
          <p:nvPr/>
        </p:nvSpPr>
        <p:spPr>
          <a:xfrm>
            <a:off x="4893709" y="4927784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/>
              <a:t>St 822</a:t>
            </a:r>
          </a:p>
        </p:txBody>
      </p:sp>
      <p:sp>
        <p:nvSpPr>
          <p:cNvPr id="18" name="Tekstiruutu 17"/>
          <p:cNvSpPr txBox="1"/>
          <p:nvPr/>
        </p:nvSpPr>
        <p:spPr>
          <a:xfrm>
            <a:off x="4443070" y="2592603"/>
            <a:ext cx="551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/>
              <a:t>St 849</a:t>
            </a:r>
          </a:p>
        </p:txBody>
      </p:sp>
      <p:sp>
        <p:nvSpPr>
          <p:cNvPr id="19" name="Tekstiruutu 18"/>
          <p:cNvSpPr txBox="1"/>
          <p:nvPr/>
        </p:nvSpPr>
        <p:spPr>
          <a:xfrm>
            <a:off x="7620704" y="5352517"/>
            <a:ext cx="4812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 err="1"/>
              <a:t>Kt</a:t>
            </a:r>
            <a:r>
              <a:rPr lang="fi-FI" sz="1000" dirty="0"/>
              <a:t> 75</a:t>
            </a:r>
          </a:p>
        </p:txBody>
      </p:sp>
      <p:sp>
        <p:nvSpPr>
          <p:cNvPr id="20" name="Tekstiruutu 19"/>
          <p:cNvSpPr txBox="1"/>
          <p:nvPr/>
        </p:nvSpPr>
        <p:spPr>
          <a:xfrm>
            <a:off x="6369472" y="4500374"/>
            <a:ext cx="4812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 err="1"/>
              <a:t>Kt</a:t>
            </a:r>
            <a:r>
              <a:rPr lang="fi-FI" sz="1000" dirty="0"/>
              <a:t> 89</a:t>
            </a:r>
          </a:p>
        </p:txBody>
      </p:sp>
      <p:sp>
        <p:nvSpPr>
          <p:cNvPr id="21" name="Tekstiruutu 20"/>
          <p:cNvSpPr txBox="1"/>
          <p:nvPr/>
        </p:nvSpPr>
        <p:spPr>
          <a:xfrm>
            <a:off x="6455341" y="5624100"/>
            <a:ext cx="6222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 err="1"/>
              <a:t>Yt</a:t>
            </a:r>
            <a:r>
              <a:rPr lang="fi-FI" sz="1000" dirty="0"/>
              <a:t> 8730</a:t>
            </a:r>
          </a:p>
        </p:txBody>
      </p:sp>
      <p:sp>
        <p:nvSpPr>
          <p:cNvPr id="22" name="Tekstiruutu 21"/>
          <p:cNvSpPr txBox="1"/>
          <p:nvPr/>
        </p:nvSpPr>
        <p:spPr>
          <a:xfrm>
            <a:off x="2272133" y="5168283"/>
            <a:ext cx="6928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 err="1"/>
              <a:t>Yt</a:t>
            </a:r>
            <a:r>
              <a:rPr lang="fi-FI" sz="1000" dirty="0"/>
              <a:t> 18063</a:t>
            </a:r>
          </a:p>
        </p:txBody>
      </p:sp>
      <p:sp>
        <p:nvSpPr>
          <p:cNvPr id="23" name="Tekstiruutu 22"/>
          <p:cNvSpPr txBox="1"/>
          <p:nvPr/>
        </p:nvSpPr>
        <p:spPr>
          <a:xfrm>
            <a:off x="3388929" y="1988553"/>
            <a:ext cx="8931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 err="1"/>
              <a:t>Vt</a:t>
            </a:r>
            <a:r>
              <a:rPr lang="fi-FI" sz="1000" dirty="0"/>
              <a:t> 4 </a:t>
            </a:r>
            <a:r>
              <a:rPr lang="fi-FI" sz="1000" dirty="0" err="1"/>
              <a:t>Olhava</a:t>
            </a:r>
            <a:r>
              <a:rPr lang="fi-FI" sz="1000" dirty="0"/>
              <a:t>-</a:t>
            </a:r>
            <a:br>
              <a:rPr lang="fi-FI" sz="1000" dirty="0"/>
            </a:br>
            <a:r>
              <a:rPr lang="fi-FI" sz="1000" dirty="0"/>
              <a:t>joen silta</a:t>
            </a:r>
          </a:p>
        </p:txBody>
      </p:sp>
      <p:sp>
        <p:nvSpPr>
          <p:cNvPr id="24" name="Tekstiruutu 23"/>
          <p:cNvSpPr txBox="1"/>
          <p:nvPr/>
        </p:nvSpPr>
        <p:spPr>
          <a:xfrm>
            <a:off x="6836982" y="4627307"/>
            <a:ext cx="4812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 err="1"/>
              <a:t>Kt</a:t>
            </a:r>
            <a:r>
              <a:rPr lang="fi-FI" sz="1000" dirty="0"/>
              <a:t> 89</a:t>
            </a:r>
          </a:p>
        </p:txBody>
      </p:sp>
      <p:sp>
        <p:nvSpPr>
          <p:cNvPr id="25" name="Tekstiruutu 24"/>
          <p:cNvSpPr txBox="1"/>
          <p:nvPr/>
        </p:nvSpPr>
        <p:spPr>
          <a:xfrm>
            <a:off x="3960769" y="3576993"/>
            <a:ext cx="1467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 err="1"/>
              <a:t>Vt</a:t>
            </a:r>
            <a:r>
              <a:rPr lang="fi-FI" sz="1000" dirty="0"/>
              <a:t> 8 </a:t>
            </a:r>
            <a:r>
              <a:rPr lang="fi-FI" sz="1000" dirty="0" err="1"/>
              <a:t>Liminganjoen</a:t>
            </a:r>
            <a:r>
              <a:rPr lang="fi-FI" sz="1000" dirty="0"/>
              <a:t> silta</a:t>
            </a:r>
          </a:p>
        </p:txBody>
      </p:sp>
      <p:sp>
        <p:nvSpPr>
          <p:cNvPr id="26" name="Tekstiruutu 25"/>
          <p:cNvSpPr txBox="1"/>
          <p:nvPr/>
        </p:nvSpPr>
        <p:spPr>
          <a:xfrm>
            <a:off x="2692263" y="3571102"/>
            <a:ext cx="11913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000" dirty="0" err="1"/>
              <a:t>Vt</a:t>
            </a:r>
            <a:r>
              <a:rPr lang="fi-FI" sz="1000" dirty="0"/>
              <a:t> 8 Siikajoen ja </a:t>
            </a:r>
            <a:br>
              <a:rPr lang="fi-FI" sz="1000" dirty="0"/>
            </a:br>
            <a:r>
              <a:rPr lang="fi-FI" sz="1000" dirty="0"/>
              <a:t>Perukanojan sillat</a:t>
            </a:r>
          </a:p>
        </p:txBody>
      </p:sp>
    </p:spTree>
    <p:extLst>
      <p:ext uri="{BB962C8B-B14F-4D97-AF65-F5344CB8AC3E}">
        <p14:creationId xmlns:p14="http://schemas.microsoft.com/office/powerpoint/2010/main" val="279623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27584" y="908720"/>
            <a:ext cx="7776864" cy="642942"/>
          </a:xfrm>
        </p:spPr>
        <p:txBody>
          <a:bodyPr/>
          <a:lstStyle/>
          <a:p>
            <a:r>
              <a:rPr lang="fi-FI" sz="2800" b="1" dirty="0"/>
              <a:t>Perusväylänpidon lisärahoituskohteet 2017 - 2019</a:t>
            </a:r>
            <a:endParaRPr lang="fi-FI" sz="2800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>
          <a:xfrm>
            <a:off x="821754" y="1628800"/>
            <a:ext cx="7782694" cy="3937050"/>
          </a:xfrm>
        </p:spPr>
        <p:txBody>
          <a:bodyPr/>
          <a:lstStyle/>
          <a:p>
            <a:r>
              <a:rPr lang="fi-FI" sz="1800" b="1" dirty="0"/>
              <a:t>Periaattee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i-FI" sz="1800" dirty="0"/>
              <a:t>Lisärahoituksesta kohdennetaan maanteille 163 milj. euroa ja rautateille 101 milj. euroa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i-FI" sz="1800" dirty="0"/>
              <a:t>Maanteillä tyypillisiä toimenpiteitä ovat erilaiset liittymä- ja kaistajärjestelyt, teiden parantamiset, ohituskaistat ja rekkaparkit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i-FI" sz="1800" dirty="0"/>
              <a:t>Yksityisteiden valtionavustuksiin lisärahoituksesta kohdistetaan valtionavustuksiin vuosittain 10 milj. euroa, yhteensä 30 milj. euroa vuosina 2017–2019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i-FI" sz="1800" dirty="0"/>
              <a:t>Lisäksi rahoituksesta kohdennetaan yhteensä 70 milj. euroa Helsingin, Turun, Tampereen ja Oulun kaupunkiseuduille maankäytön, asumisen ja liikenteen (MAL)-sopimusten tavoitteiden mukaisesti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i-FI" sz="1800" b="1" dirty="0">
                <a:solidFill>
                  <a:srgbClr val="003883"/>
                </a:solidFill>
              </a:rPr>
              <a:t>Pohjois-Pohjanmaa ja Kainu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i-FI" sz="1800" dirty="0" err="1">
                <a:solidFill>
                  <a:srgbClr val="003883"/>
                </a:solidFill>
              </a:rPr>
              <a:t>Vt</a:t>
            </a:r>
            <a:r>
              <a:rPr lang="fi-FI" sz="1800" dirty="0">
                <a:solidFill>
                  <a:srgbClr val="003883"/>
                </a:solidFill>
              </a:rPr>
              <a:t> 4 Rantsila, liittymäjärjestelyt + kevyt liikenne + päällystee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i-FI" sz="1800" dirty="0" err="1">
                <a:solidFill>
                  <a:srgbClr val="003883"/>
                </a:solidFill>
              </a:rPr>
              <a:t>Vt</a:t>
            </a:r>
            <a:r>
              <a:rPr lang="fi-FI" sz="1800" dirty="0">
                <a:solidFill>
                  <a:srgbClr val="003883"/>
                </a:solidFill>
              </a:rPr>
              <a:t> 27 Ylivieska, silta + liittymäjärjestelyt + kevyt liikenn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i-FI" sz="1800" dirty="0">
                <a:solidFill>
                  <a:srgbClr val="003883"/>
                </a:solidFill>
              </a:rPr>
              <a:t>Kuusamo, </a:t>
            </a:r>
            <a:r>
              <a:rPr lang="fi-FI" sz="1800" dirty="0" err="1">
                <a:solidFill>
                  <a:srgbClr val="003883"/>
                </a:solidFill>
              </a:rPr>
              <a:t>Liikasenvaarantie</a:t>
            </a:r>
            <a:endParaRPr lang="fi-FI" sz="1800" dirty="0">
              <a:solidFill>
                <a:srgbClr val="003883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fi-FI" sz="1800" dirty="0">
                <a:solidFill>
                  <a:srgbClr val="003883"/>
                </a:solidFill>
              </a:rPr>
              <a:t>Oulunseudun MAL sopimus 5 M€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766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1" name="Picture 3" descr="organisaatio_suomi_0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2187575"/>
            <a:ext cx="6697663" cy="467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llipsi 5"/>
          <p:cNvSpPr/>
          <p:nvPr/>
        </p:nvSpPr>
        <p:spPr>
          <a:xfrm rot="60000">
            <a:off x="1960662" y="4682982"/>
            <a:ext cx="1975287" cy="1370777"/>
          </a:xfrm>
          <a:custGeom>
            <a:avLst/>
            <a:gdLst>
              <a:gd name="connsiteX0" fmla="*/ 0 w 1872208"/>
              <a:gd name="connsiteY0" fmla="*/ 648072 h 1296144"/>
              <a:gd name="connsiteX1" fmla="*/ 936104 w 1872208"/>
              <a:gd name="connsiteY1" fmla="*/ 0 h 1296144"/>
              <a:gd name="connsiteX2" fmla="*/ 1872208 w 1872208"/>
              <a:gd name="connsiteY2" fmla="*/ 648072 h 1296144"/>
              <a:gd name="connsiteX3" fmla="*/ 936104 w 1872208"/>
              <a:gd name="connsiteY3" fmla="*/ 1296144 h 1296144"/>
              <a:gd name="connsiteX4" fmla="*/ 0 w 1872208"/>
              <a:gd name="connsiteY4" fmla="*/ 648072 h 1296144"/>
              <a:gd name="connsiteX0" fmla="*/ 0 w 1891258"/>
              <a:gd name="connsiteY0" fmla="*/ 1016834 h 1335427"/>
              <a:gd name="connsiteX1" fmla="*/ 955154 w 1891258"/>
              <a:gd name="connsiteY1" fmla="*/ 6812 h 1335427"/>
              <a:gd name="connsiteX2" fmla="*/ 1891258 w 1891258"/>
              <a:gd name="connsiteY2" fmla="*/ 654884 h 1335427"/>
              <a:gd name="connsiteX3" fmla="*/ 955154 w 1891258"/>
              <a:gd name="connsiteY3" fmla="*/ 1302956 h 1335427"/>
              <a:gd name="connsiteX4" fmla="*/ 0 w 1891258"/>
              <a:gd name="connsiteY4" fmla="*/ 1016834 h 1335427"/>
              <a:gd name="connsiteX0" fmla="*/ 0 w 1975287"/>
              <a:gd name="connsiteY0" fmla="*/ 1052184 h 1370777"/>
              <a:gd name="connsiteX1" fmla="*/ 955154 w 1975287"/>
              <a:gd name="connsiteY1" fmla="*/ 42162 h 1370777"/>
              <a:gd name="connsiteX2" fmla="*/ 1837908 w 1975287"/>
              <a:gd name="connsiteY2" fmla="*/ 239538 h 1370777"/>
              <a:gd name="connsiteX3" fmla="*/ 1891258 w 1975287"/>
              <a:gd name="connsiteY3" fmla="*/ 690234 h 1370777"/>
              <a:gd name="connsiteX4" fmla="*/ 955154 w 1975287"/>
              <a:gd name="connsiteY4" fmla="*/ 1338306 h 1370777"/>
              <a:gd name="connsiteX5" fmla="*/ 0 w 1975287"/>
              <a:gd name="connsiteY5" fmla="*/ 1052184 h 1370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75287" h="1370777">
                <a:moveTo>
                  <a:pt x="0" y="1052184"/>
                </a:moveTo>
                <a:cubicBezTo>
                  <a:pt x="0" y="694264"/>
                  <a:pt x="648836" y="177603"/>
                  <a:pt x="955154" y="42162"/>
                </a:cubicBezTo>
                <a:cubicBezTo>
                  <a:pt x="1261472" y="-93279"/>
                  <a:pt x="1681891" y="131526"/>
                  <a:pt x="1837908" y="239538"/>
                </a:cubicBezTo>
                <a:cubicBezTo>
                  <a:pt x="1993925" y="347550"/>
                  <a:pt x="2024414" y="529331"/>
                  <a:pt x="1891258" y="690234"/>
                </a:cubicBezTo>
                <a:cubicBezTo>
                  <a:pt x="1758102" y="851137"/>
                  <a:pt x="1270364" y="1277981"/>
                  <a:pt x="955154" y="1338306"/>
                </a:cubicBezTo>
                <a:cubicBezTo>
                  <a:pt x="639944" y="1398631"/>
                  <a:pt x="0" y="1410104"/>
                  <a:pt x="0" y="1052184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i-FI">
              <a:solidFill>
                <a:prstClr val="white"/>
              </a:solidFill>
            </a:endParaRPr>
          </a:p>
        </p:txBody>
      </p:sp>
      <p:sp>
        <p:nvSpPr>
          <p:cNvPr id="22530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116013" y="1125538"/>
            <a:ext cx="6365875" cy="946150"/>
          </a:xfrm>
          <a:prstGeom prst="rect">
            <a:avLst/>
          </a:prstGeom>
          <a:solidFill>
            <a:srgbClr val="FFFFFF"/>
          </a:solidFill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57263"/>
            <a:r>
              <a:rPr lang="fi-FI" altLang="fi-FI" sz="2800" b="1" dirty="0" smtClean="0"/>
              <a:t>Liikennehallinosassa</a:t>
            </a:r>
            <a:br>
              <a:rPr lang="fi-FI" altLang="fi-FI" sz="2800" b="1" dirty="0" smtClean="0"/>
            </a:br>
            <a:r>
              <a:rPr lang="fi-FI" altLang="fi-FI" sz="2800" b="1" dirty="0" smtClean="0"/>
              <a:t>kaksi uutta organisaatiota</a:t>
            </a:r>
          </a:p>
        </p:txBody>
      </p:sp>
      <p:sp>
        <p:nvSpPr>
          <p:cNvPr id="2" name="Tekstiruutu 1"/>
          <p:cNvSpPr txBox="1"/>
          <p:nvPr/>
        </p:nvSpPr>
        <p:spPr>
          <a:xfrm>
            <a:off x="5580112" y="332656"/>
            <a:ext cx="3240360" cy="46166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2400" b="1" dirty="0" smtClean="0">
                <a:solidFill>
                  <a:prstClr val="white">
                    <a:lumMod val="95000"/>
                  </a:prstClr>
                </a:solidFill>
              </a:rPr>
              <a:t>Alku uudistus 2010</a:t>
            </a:r>
            <a:endParaRPr lang="fi-FI" sz="2400" b="1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47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55576" y="1052736"/>
            <a:ext cx="7776864" cy="642942"/>
          </a:xfrm>
        </p:spPr>
        <p:txBody>
          <a:bodyPr/>
          <a:lstStyle/>
          <a:p>
            <a:r>
              <a:rPr lang="fi-FI" sz="2800" dirty="0">
                <a:solidFill>
                  <a:schemeClr val="accent1"/>
                </a:solidFill>
              </a:rPr>
              <a:t>Aluehallintouudistus on hallituksen kärkihanke, valmistelu käynnistynyt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>
          <a:xfrm>
            <a:off x="755577" y="2276872"/>
            <a:ext cx="7920880" cy="4009058"/>
          </a:xfrm>
        </p:spPr>
        <p:txBody>
          <a:bodyPr/>
          <a:lstStyle/>
          <a:p>
            <a:r>
              <a:rPr lang="fi-FI" sz="1800" dirty="0"/>
              <a:t>Hallitus on 5.4.2016 tehnyt ratkaisun maakunnille siirrettävistä tehtävistä. </a:t>
            </a:r>
          </a:p>
          <a:p>
            <a:pPr lvl="1"/>
            <a:r>
              <a:rPr lang="fi-FI" sz="1400" dirty="0"/>
              <a:t>Ratkaisu toteuttaa hallituksen 7.11.2015 antamat linjaukset sosiaali- ja terveyshuollon uudistuksen ja itsehallintoalueiden perustamisen  jatkovalmistelusta ja itsehallintoalueiden aluejaosta. </a:t>
            </a:r>
          </a:p>
          <a:p>
            <a:pPr lvl="1"/>
            <a:r>
              <a:rPr lang="fi-FI" sz="1400" dirty="0"/>
              <a:t>Tehtäviä koskevissa linjauksissa on kunnioitettu ministeriöiden selvityshenkilö Lauri Tarastille joulukuussa 2015 toimittamia kantoja. </a:t>
            </a:r>
          </a:p>
          <a:p>
            <a:endParaRPr lang="fi-FI" sz="1800" dirty="0"/>
          </a:p>
          <a:p>
            <a:r>
              <a:rPr lang="fi-FI" sz="1800" b="1" dirty="0">
                <a:solidFill>
                  <a:srgbClr val="FF0000"/>
                </a:solidFill>
              </a:rPr>
              <a:t>Uudistuksen valmistelu alkaa välittömästi. Maakunnat aloittavat toimintansa 1.1.2019, jolloin </a:t>
            </a:r>
            <a:r>
              <a:rPr lang="fi-FI" sz="1800" b="1" dirty="0" err="1">
                <a:solidFill>
                  <a:srgbClr val="FF0000"/>
                </a:solidFill>
              </a:rPr>
              <a:t>ELY-keskukset</a:t>
            </a:r>
            <a:r>
              <a:rPr lang="fi-FI" sz="1800" b="1" dirty="0">
                <a:solidFill>
                  <a:srgbClr val="FF0000"/>
                </a:solidFill>
              </a:rPr>
              <a:t>, </a:t>
            </a:r>
            <a:r>
              <a:rPr lang="fi-FI" sz="1800" b="1" dirty="0" err="1">
                <a:solidFill>
                  <a:srgbClr val="FF0000"/>
                </a:solidFill>
              </a:rPr>
              <a:t>TE-toimistot</a:t>
            </a:r>
            <a:r>
              <a:rPr lang="fi-FI" sz="1800" b="1" dirty="0">
                <a:solidFill>
                  <a:srgbClr val="FF0000"/>
                </a:solidFill>
              </a:rPr>
              <a:t> ja maakuntien liitot lakkaavat.</a:t>
            </a:r>
          </a:p>
          <a:p>
            <a:endParaRPr lang="fi-FI" sz="1800" dirty="0"/>
          </a:p>
          <a:p>
            <a:r>
              <a:rPr lang="fi-FI" sz="1800" dirty="0"/>
              <a:t>Valmistelun aikana </a:t>
            </a:r>
            <a:r>
              <a:rPr lang="fi-FI" sz="1800" dirty="0" err="1"/>
              <a:t>ELY-keskuksissa</a:t>
            </a:r>
            <a:r>
              <a:rPr lang="fi-FI" sz="1800" dirty="0"/>
              <a:t> ja </a:t>
            </a:r>
            <a:r>
              <a:rPr lang="fi-FI" sz="1800" dirty="0" err="1"/>
              <a:t>TE-toimistoissa</a:t>
            </a:r>
            <a:r>
              <a:rPr lang="fi-FI" sz="1800" dirty="0"/>
              <a:t> jatketaan työtä asiakkaiden hyväksi sekä suunnitelmien mukaista kehittämistä prosessien ja toimintatapojen uudistamiseksi (Iskukykyinen ELY2 -ohjelma, </a:t>
            </a:r>
            <a:r>
              <a:rPr lang="fi-FI" sz="1800" dirty="0" err="1"/>
              <a:t>TE-palveluiden</a:t>
            </a:r>
            <a:r>
              <a:rPr lang="fi-FI" sz="1800" dirty="0"/>
              <a:t> kehittämisen kärkihankkeet).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1882284-112A-4200-A38D-E9DFDFFCC923}" type="slidenum">
              <a:rPr lang="fi-FI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fi-F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993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Uudistuksen aikataulu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024A-9348-8F4E-84E6-1AC861A3D50B}" type="datetime1">
              <a:rPr lang="fi-FI" smtClean="0">
                <a:solidFill>
                  <a:srgbClr val="D5B37A"/>
                </a:solidFill>
              </a:rPr>
              <a:pPr/>
              <a:t>1.9.2016</a:t>
            </a:fld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mtClean="0">
                <a:solidFill>
                  <a:srgbClr val="D5B37A"/>
                </a:solidFill>
              </a:rPr>
              <a:t>Työ- ja elinkeinoministeriö </a:t>
            </a:r>
            <a:r>
              <a:rPr lang="bg-BG" smtClean="0">
                <a:solidFill>
                  <a:srgbClr val="D5B37A"/>
                </a:solidFill>
              </a:rPr>
              <a:t>•</a:t>
            </a:r>
            <a:r>
              <a:rPr lang="fi-FI" smtClean="0">
                <a:solidFill>
                  <a:srgbClr val="D5B37A"/>
                </a:solidFill>
              </a:rPr>
              <a:t> www.tem.fi</a:t>
            </a:r>
            <a:endParaRPr lang="fi-FI" dirty="0">
              <a:solidFill>
                <a:srgbClr val="D5B37A"/>
              </a:solidFill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5C9E5-8AC3-DF4B-BA99-CB03B9370A98}" type="slidenum">
              <a:rPr lang="fi-FI" smtClean="0">
                <a:solidFill>
                  <a:srgbClr val="D5B37A"/>
                </a:solidFill>
              </a:rPr>
              <a:pPr/>
              <a:t>4</a:t>
            </a:fld>
            <a:endParaRPr lang="fi-FI">
              <a:solidFill>
                <a:srgbClr val="D5B37A"/>
              </a:solidFill>
            </a:endParaRPr>
          </a:p>
        </p:txBody>
      </p:sp>
      <p:grpSp>
        <p:nvGrpSpPr>
          <p:cNvPr id="14" name="Ryhmä 13"/>
          <p:cNvGrpSpPr/>
          <p:nvPr/>
        </p:nvGrpSpPr>
        <p:grpSpPr>
          <a:xfrm>
            <a:off x="722895" y="3121905"/>
            <a:ext cx="7758572" cy="219709"/>
            <a:chOff x="935555" y="4210493"/>
            <a:chExt cx="7758572" cy="219709"/>
          </a:xfrm>
        </p:grpSpPr>
        <p:sp>
          <p:nvSpPr>
            <p:cNvPr id="8" name="Suorakulmio 7"/>
            <p:cNvSpPr/>
            <p:nvPr/>
          </p:nvSpPr>
          <p:spPr>
            <a:xfrm>
              <a:off x="935555" y="4210493"/>
              <a:ext cx="1254752" cy="20201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fi-FI" sz="1350" b="1" dirty="0">
                  <a:solidFill>
                    <a:srgbClr val="FFFFFF"/>
                  </a:solidFill>
                </a:rPr>
                <a:t>2016</a:t>
              </a:r>
            </a:p>
          </p:txBody>
        </p:sp>
        <p:sp>
          <p:nvSpPr>
            <p:cNvPr id="9" name="Suorakulmio 8"/>
            <p:cNvSpPr/>
            <p:nvPr/>
          </p:nvSpPr>
          <p:spPr>
            <a:xfrm>
              <a:off x="2236319" y="4214031"/>
              <a:ext cx="1254752" cy="20201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fi-FI" sz="1350" b="1" dirty="0">
                  <a:solidFill>
                    <a:srgbClr val="FFFFFF"/>
                  </a:solidFill>
                </a:rPr>
                <a:t>2017</a:t>
              </a:r>
            </a:p>
          </p:txBody>
        </p:sp>
        <p:sp>
          <p:nvSpPr>
            <p:cNvPr id="10" name="Suorakulmio 9"/>
            <p:cNvSpPr/>
            <p:nvPr/>
          </p:nvSpPr>
          <p:spPr>
            <a:xfrm>
              <a:off x="3537083" y="4217569"/>
              <a:ext cx="1254752" cy="20201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fi-FI" sz="1350" b="1" dirty="0">
                  <a:solidFill>
                    <a:srgbClr val="FFFFFF"/>
                  </a:solidFill>
                </a:rPr>
                <a:t>2018</a:t>
              </a:r>
              <a:endParaRPr lang="fi-FI" sz="1350" dirty="0">
                <a:solidFill>
                  <a:srgbClr val="FFFFFF"/>
                </a:solidFill>
              </a:endParaRPr>
            </a:p>
          </p:txBody>
        </p:sp>
        <p:sp>
          <p:nvSpPr>
            <p:cNvPr id="11" name="Suorakulmio 10"/>
            <p:cNvSpPr/>
            <p:nvPr/>
          </p:nvSpPr>
          <p:spPr>
            <a:xfrm>
              <a:off x="4837847" y="4221107"/>
              <a:ext cx="1254752" cy="20201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fi-FI" sz="1350" b="1" dirty="0">
                  <a:solidFill>
                    <a:srgbClr val="FFFFFF"/>
                  </a:solidFill>
                </a:rPr>
                <a:t>2019</a:t>
              </a:r>
              <a:endParaRPr lang="fi-FI" sz="1350" dirty="0">
                <a:solidFill>
                  <a:srgbClr val="FFFFFF"/>
                </a:solidFill>
              </a:endParaRPr>
            </a:p>
          </p:txBody>
        </p:sp>
        <p:sp>
          <p:nvSpPr>
            <p:cNvPr id="12" name="Suorakulmio 11"/>
            <p:cNvSpPr/>
            <p:nvPr/>
          </p:nvSpPr>
          <p:spPr>
            <a:xfrm>
              <a:off x="6138611" y="4224645"/>
              <a:ext cx="1254752" cy="20201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fi-FI" sz="1350" b="1" dirty="0">
                  <a:solidFill>
                    <a:srgbClr val="FFFFFF"/>
                  </a:solidFill>
                </a:rPr>
                <a:t>2020</a:t>
              </a:r>
              <a:endParaRPr lang="fi-FI" sz="1350" dirty="0">
                <a:solidFill>
                  <a:srgbClr val="FFFFFF"/>
                </a:solidFill>
              </a:endParaRPr>
            </a:p>
          </p:txBody>
        </p:sp>
        <p:sp>
          <p:nvSpPr>
            <p:cNvPr id="13" name="Suorakulmio 12"/>
            <p:cNvSpPr/>
            <p:nvPr/>
          </p:nvSpPr>
          <p:spPr>
            <a:xfrm>
              <a:off x="7439375" y="4228183"/>
              <a:ext cx="1254752" cy="20201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fi-FI" sz="1350" b="1" dirty="0">
                  <a:solidFill>
                    <a:srgbClr val="FFFFFF"/>
                  </a:solidFill>
                </a:rPr>
                <a:t>2021</a:t>
              </a:r>
              <a:endParaRPr lang="fi-FI" sz="135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7" name="Suora yhdysviiva 16"/>
          <p:cNvCxnSpPr/>
          <p:nvPr/>
        </p:nvCxnSpPr>
        <p:spPr>
          <a:xfrm>
            <a:off x="1180206" y="2919974"/>
            <a:ext cx="1609121" cy="0"/>
          </a:xfrm>
          <a:prstGeom prst="line">
            <a:avLst/>
          </a:prstGeom>
          <a:ln w="12700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uora yhdysviiva 18"/>
          <p:cNvCxnSpPr/>
          <p:nvPr/>
        </p:nvCxnSpPr>
        <p:spPr>
          <a:xfrm>
            <a:off x="2810593" y="2923512"/>
            <a:ext cx="809415" cy="7076"/>
          </a:xfrm>
          <a:prstGeom prst="line">
            <a:avLst/>
          </a:prstGeom>
          <a:ln w="127000">
            <a:solidFill>
              <a:srgbClr val="FFFF6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uora yhdysviiva 20"/>
          <p:cNvCxnSpPr/>
          <p:nvPr/>
        </p:nvCxnSpPr>
        <p:spPr>
          <a:xfrm>
            <a:off x="4625188" y="2930588"/>
            <a:ext cx="3138305" cy="0"/>
          </a:xfrm>
          <a:prstGeom prst="line">
            <a:avLst/>
          </a:prstGeom>
          <a:ln w="127000">
            <a:solidFill>
              <a:schemeClr val="accent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ikehys 23"/>
          <p:cNvSpPr txBox="1"/>
          <p:nvPr/>
        </p:nvSpPr>
        <p:spPr>
          <a:xfrm>
            <a:off x="1227834" y="2345404"/>
            <a:ext cx="12378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Esivalmistelu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6/2016 - 6/17</a:t>
            </a:r>
          </a:p>
        </p:txBody>
      </p:sp>
      <p:sp>
        <p:nvSpPr>
          <p:cNvPr id="26" name="Tekstikehys 25"/>
          <p:cNvSpPr txBox="1"/>
          <p:nvPr/>
        </p:nvSpPr>
        <p:spPr>
          <a:xfrm>
            <a:off x="2661809" y="2129960"/>
            <a:ext cx="103906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Väliaikais-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hallinto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7/17- 2/18</a:t>
            </a:r>
          </a:p>
        </p:txBody>
      </p:sp>
      <p:sp>
        <p:nvSpPr>
          <p:cNvPr id="30" name="Tekstikehys 29"/>
          <p:cNvSpPr txBox="1"/>
          <p:nvPr/>
        </p:nvSpPr>
        <p:spPr>
          <a:xfrm>
            <a:off x="4908769" y="2283850"/>
            <a:ext cx="2583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600" dirty="0">
                <a:solidFill>
                  <a:srgbClr val="000000"/>
                </a:solidFill>
                <a:latin typeface="Arial"/>
                <a:cs typeface="+mn-cs"/>
              </a:rPr>
              <a:t>Maakunnat aloittavat toimintansa </a:t>
            </a: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1.1.2019</a:t>
            </a:r>
          </a:p>
        </p:txBody>
      </p:sp>
      <p:cxnSp>
        <p:nvCxnSpPr>
          <p:cNvPr id="37" name="Suora nuoliyhdysviiva 36"/>
          <p:cNvCxnSpPr/>
          <p:nvPr/>
        </p:nvCxnSpPr>
        <p:spPr>
          <a:xfrm>
            <a:off x="2296624" y="3341613"/>
            <a:ext cx="0" cy="705370"/>
          </a:xfrm>
          <a:prstGeom prst="straightConnector1">
            <a:avLst/>
          </a:prstGeom>
          <a:ln w="12700">
            <a:solidFill>
              <a:srgbClr val="C00000"/>
            </a:solidFill>
            <a:headEnd type="oval" w="lg" len="lg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uora nuoliyhdysviiva 38"/>
          <p:cNvCxnSpPr/>
          <p:nvPr/>
        </p:nvCxnSpPr>
        <p:spPr>
          <a:xfrm>
            <a:off x="3395361" y="3330981"/>
            <a:ext cx="0" cy="1917513"/>
          </a:xfrm>
          <a:prstGeom prst="straightConnector1">
            <a:avLst/>
          </a:prstGeom>
          <a:ln w="12700">
            <a:solidFill>
              <a:srgbClr val="C00000"/>
            </a:solidFill>
            <a:headEnd type="oval" w="lg" len="lg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uora nuoliyhdysviiva 39"/>
          <p:cNvCxnSpPr/>
          <p:nvPr/>
        </p:nvCxnSpPr>
        <p:spPr>
          <a:xfrm>
            <a:off x="7609567" y="3341614"/>
            <a:ext cx="0" cy="949949"/>
          </a:xfrm>
          <a:prstGeom prst="straightConnector1">
            <a:avLst/>
          </a:prstGeom>
          <a:ln w="12700">
            <a:solidFill>
              <a:srgbClr val="C00000"/>
            </a:solidFill>
            <a:headEnd type="oval" w="lg" len="lg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kstikehys 40"/>
          <p:cNvSpPr txBox="1"/>
          <p:nvPr/>
        </p:nvSpPr>
        <p:spPr>
          <a:xfrm>
            <a:off x="1131142" y="3589774"/>
            <a:ext cx="1228220" cy="8463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b="1" dirty="0">
                <a:solidFill>
                  <a:srgbClr val="C00000"/>
                </a:solidFill>
                <a:latin typeface="Arial"/>
                <a:cs typeface="+mn-cs"/>
              </a:rPr>
              <a:t>4 / 2017</a:t>
            </a:r>
          </a:p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Kuntavaalit</a:t>
            </a:r>
            <a:endParaRPr lang="fi-FI" sz="1600" dirty="0">
              <a:solidFill>
                <a:srgbClr val="000000"/>
              </a:solidFill>
              <a:latin typeface="Arial"/>
              <a:cs typeface="+mn-cs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fi-FI" sz="165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2" name="Tekstikehys 41"/>
          <p:cNvSpPr txBox="1"/>
          <p:nvPr/>
        </p:nvSpPr>
        <p:spPr>
          <a:xfrm>
            <a:off x="1536166" y="3940653"/>
            <a:ext cx="1906356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b="1" dirty="0">
                <a:solidFill>
                  <a:srgbClr val="C00000"/>
                </a:solidFill>
                <a:latin typeface="Arial"/>
                <a:cs typeface="+mn-cs"/>
              </a:rPr>
              <a:t>28.1.2018</a:t>
            </a:r>
          </a:p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Ensimmäiset </a:t>
            </a:r>
          </a:p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maakuntavaalit</a:t>
            </a:r>
          </a:p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presidentinvaalien</a:t>
            </a:r>
            <a:b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</a:b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yhteydessä</a:t>
            </a:r>
          </a:p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endParaRPr lang="fi-FI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3" name="Tekstikehys 42"/>
          <p:cNvSpPr txBox="1"/>
          <p:nvPr/>
        </p:nvSpPr>
        <p:spPr>
          <a:xfrm>
            <a:off x="6075776" y="3589774"/>
            <a:ext cx="1603323" cy="8463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b="1" dirty="0">
                <a:solidFill>
                  <a:srgbClr val="C00000"/>
                </a:solidFill>
                <a:latin typeface="Arial"/>
                <a:cs typeface="+mn-cs"/>
              </a:rPr>
              <a:t>4 / 2021</a:t>
            </a:r>
          </a:p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Kunta- ja </a:t>
            </a:r>
            <a:b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</a:b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maakuntavaalit</a:t>
            </a:r>
            <a:endParaRPr lang="fi-FI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cxnSp>
        <p:nvCxnSpPr>
          <p:cNvPr id="45" name="Suora nuoliyhdysviiva 44"/>
          <p:cNvCxnSpPr/>
          <p:nvPr/>
        </p:nvCxnSpPr>
        <p:spPr>
          <a:xfrm>
            <a:off x="3724984" y="3345152"/>
            <a:ext cx="0" cy="946411"/>
          </a:xfrm>
          <a:prstGeom prst="straightConnector1">
            <a:avLst/>
          </a:prstGeom>
          <a:ln w="12700">
            <a:solidFill>
              <a:srgbClr val="C00000"/>
            </a:solidFill>
            <a:headEnd type="oval" w="lg" len="lg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kstikehys 45"/>
          <p:cNvSpPr txBox="1"/>
          <p:nvPr/>
        </p:nvSpPr>
        <p:spPr>
          <a:xfrm>
            <a:off x="3665911" y="3589775"/>
            <a:ext cx="2191626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b="1" dirty="0">
                <a:solidFill>
                  <a:srgbClr val="C00000"/>
                </a:solidFill>
                <a:latin typeface="Arial"/>
                <a:cs typeface="+mn-cs"/>
              </a:rPr>
              <a:t>3 / 2018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Maakuntavaltuustot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650" dirty="0">
                <a:solidFill>
                  <a:srgbClr val="000000"/>
                </a:solidFill>
                <a:latin typeface="Arial"/>
                <a:cs typeface="+mn-cs"/>
              </a:rPr>
              <a:t>aloittavat toimintansa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fi-FI" sz="16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8" name="Tekstikehys 27"/>
          <p:cNvSpPr txBox="1"/>
          <p:nvPr/>
        </p:nvSpPr>
        <p:spPr>
          <a:xfrm>
            <a:off x="3641273" y="2129960"/>
            <a:ext cx="113845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Käynnistys-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vaihe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fi-FI" sz="1400" dirty="0">
                <a:solidFill>
                  <a:srgbClr val="000000"/>
                </a:solidFill>
                <a:latin typeface="Arial"/>
                <a:cs typeface="+mn-cs"/>
              </a:rPr>
              <a:t>3/17- 12/18</a:t>
            </a:r>
          </a:p>
        </p:txBody>
      </p:sp>
      <p:cxnSp>
        <p:nvCxnSpPr>
          <p:cNvPr id="29" name="Suora yhdysviiva 28"/>
          <p:cNvCxnSpPr/>
          <p:nvPr/>
        </p:nvCxnSpPr>
        <p:spPr>
          <a:xfrm>
            <a:off x="3647711" y="2930588"/>
            <a:ext cx="959749" cy="3538"/>
          </a:xfrm>
          <a:prstGeom prst="line">
            <a:avLst/>
          </a:prstGeom>
          <a:ln w="1270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212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uorakulmio 52"/>
          <p:cNvSpPr/>
          <p:nvPr/>
        </p:nvSpPr>
        <p:spPr>
          <a:xfrm>
            <a:off x="1270571" y="4926109"/>
            <a:ext cx="1087394" cy="6919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VALVIRA</a:t>
            </a:r>
          </a:p>
        </p:txBody>
      </p:sp>
      <p:sp>
        <p:nvSpPr>
          <p:cNvPr id="60" name="Suorakulmio 59"/>
          <p:cNvSpPr/>
          <p:nvPr/>
        </p:nvSpPr>
        <p:spPr>
          <a:xfrm>
            <a:off x="1217712" y="4114364"/>
            <a:ext cx="1087394" cy="6919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SOTE-sektori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102840" y="5283578"/>
            <a:ext cx="6858000" cy="653004"/>
          </a:xfrm>
        </p:spPr>
        <p:txBody>
          <a:bodyPr>
            <a:normAutofit/>
          </a:bodyPr>
          <a:lstStyle/>
          <a:p>
            <a:r>
              <a:rPr lang="fi-FI" dirty="0" smtClean="0"/>
              <a:t>Henkilöstösiirtymät maakuntauudistuksessa</a:t>
            </a:r>
          </a:p>
          <a:p>
            <a:r>
              <a:rPr lang="fi-FI" sz="1200" dirty="0"/>
              <a:t>Luonnos 25.4.2016 </a:t>
            </a:r>
            <a:r>
              <a:rPr lang="fi-FI" sz="1200" dirty="0" err="1"/>
              <a:t>KPu</a:t>
            </a:r>
            <a:endParaRPr lang="fi-FI" sz="1200" dirty="0"/>
          </a:p>
        </p:txBody>
      </p:sp>
      <p:sp>
        <p:nvSpPr>
          <p:cNvPr id="4" name="Suorakulmio 3"/>
          <p:cNvSpPr/>
          <p:nvPr/>
        </p:nvSpPr>
        <p:spPr>
          <a:xfrm>
            <a:off x="2886847" y="2654371"/>
            <a:ext cx="1994073" cy="976184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270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MAAKUNTAVIRASTO</a:t>
            </a:r>
          </a:p>
        </p:txBody>
      </p:sp>
      <p:sp>
        <p:nvSpPr>
          <p:cNvPr id="5" name="Suorakulmio 4"/>
          <p:cNvSpPr/>
          <p:nvPr/>
        </p:nvSpPr>
        <p:spPr>
          <a:xfrm>
            <a:off x="6534028" y="1491479"/>
            <a:ext cx="1087394" cy="691979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LIVI</a:t>
            </a:r>
          </a:p>
        </p:txBody>
      </p:sp>
      <p:sp>
        <p:nvSpPr>
          <p:cNvPr id="6" name="Suorakulmio 5"/>
          <p:cNvSpPr/>
          <p:nvPr/>
        </p:nvSpPr>
        <p:spPr>
          <a:xfrm>
            <a:off x="3840154" y="935774"/>
            <a:ext cx="1087394" cy="69197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ELY</a:t>
            </a:r>
          </a:p>
        </p:txBody>
      </p:sp>
      <p:sp>
        <p:nvSpPr>
          <p:cNvPr id="7" name="Suorakulmio 6"/>
          <p:cNvSpPr/>
          <p:nvPr/>
        </p:nvSpPr>
        <p:spPr>
          <a:xfrm>
            <a:off x="2429844" y="4222136"/>
            <a:ext cx="1087394" cy="6919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PELASTUS-LAITOS</a:t>
            </a:r>
          </a:p>
        </p:txBody>
      </p:sp>
      <p:sp>
        <p:nvSpPr>
          <p:cNvPr id="8" name="Suorakulmio 7"/>
          <p:cNvSpPr/>
          <p:nvPr/>
        </p:nvSpPr>
        <p:spPr>
          <a:xfrm>
            <a:off x="559144" y="2323464"/>
            <a:ext cx="1087394" cy="6919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KUNTA</a:t>
            </a:r>
          </a:p>
        </p:txBody>
      </p:sp>
      <p:sp>
        <p:nvSpPr>
          <p:cNvPr id="9" name="Suorakulmio 8"/>
          <p:cNvSpPr/>
          <p:nvPr/>
        </p:nvSpPr>
        <p:spPr>
          <a:xfrm>
            <a:off x="1102841" y="1217896"/>
            <a:ext cx="1087394" cy="691979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TE-TOIMISTO</a:t>
            </a:r>
          </a:p>
        </p:txBody>
      </p:sp>
      <p:sp>
        <p:nvSpPr>
          <p:cNvPr id="10" name="Suorakulmio 9"/>
          <p:cNvSpPr/>
          <p:nvPr/>
        </p:nvSpPr>
        <p:spPr>
          <a:xfrm>
            <a:off x="2374995" y="936464"/>
            <a:ext cx="1087394" cy="691979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TEKES</a:t>
            </a:r>
          </a:p>
        </p:txBody>
      </p:sp>
      <p:sp>
        <p:nvSpPr>
          <p:cNvPr id="11" name="Suorakulmio 10"/>
          <p:cNvSpPr/>
          <p:nvPr/>
        </p:nvSpPr>
        <p:spPr>
          <a:xfrm>
            <a:off x="437894" y="3323442"/>
            <a:ext cx="1087394" cy="691979"/>
          </a:xfrm>
          <a:custGeom>
            <a:avLst/>
            <a:gdLst>
              <a:gd name="connsiteX0" fmla="*/ 0 w 1087394"/>
              <a:gd name="connsiteY0" fmla="*/ 0 h 691979"/>
              <a:gd name="connsiteX1" fmla="*/ 1087394 w 1087394"/>
              <a:gd name="connsiteY1" fmla="*/ 0 h 691979"/>
              <a:gd name="connsiteX2" fmla="*/ 1087394 w 1087394"/>
              <a:gd name="connsiteY2" fmla="*/ 691979 h 691979"/>
              <a:gd name="connsiteX3" fmla="*/ 0 w 1087394"/>
              <a:gd name="connsiteY3" fmla="*/ 691979 h 691979"/>
              <a:gd name="connsiteX4" fmla="*/ 0 w 1087394"/>
              <a:gd name="connsiteY4" fmla="*/ 0 h 691979"/>
              <a:gd name="connsiteX0" fmla="*/ 0 w 1087394"/>
              <a:gd name="connsiteY0" fmla="*/ 0 h 691979"/>
              <a:gd name="connsiteX1" fmla="*/ 1087394 w 1087394"/>
              <a:gd name="connsiteY1" fmla="*/ 0 h 691979"/>
              <a:gd name="connsiteX2" fmla="*/ 1087394 w 1087394"/>
              <a:gd name="connsiteY2" fmla="*/ 691979 h 691979"/>
              <a:gd name="connsiteX3" fmla="*/ 128636 w 1087394"/>
              <a:gd name="connsiteY3" fmla="*/ 691967 h 691979"/>
              <a:gd name="connsiteX4" fmla="*/ 0 w 1087394"/>
              <a:gd name="connsiteY4" fmla="*/ 691979 h 691979"/>
              <a:gd name="connsiteX5" fmla="*/ 0 w 1087394"/>
              <a:gd name="connsiteY5" fmla="*/ 0 h 691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7394" h="691979">
                <a:moveTo>
                  <a:pt x="0" y="0"/>
                </a:moveTo>
                <a:lnTo>
                  <a:pt x="1087394" y="0"/>
                </a:lnTo>
                <a:lnTo>
                  <a:pt x="1087394" y="691979"/>
                </a:lnTo>
                <a:lnTo>
                  <a:pt x="128636" y="691967"/>
                </a:lnTo>
                <a:lnTo>
                  <a:pt x="0" y="69197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270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AVI</a:t>
            </a:r>
          </a:p>
        </p:txBody>
      </p:sp>
      <p:sp>
        <p:nvSpPr>
          <p:cNvPr id="12" name="Suorakulmio 11"/>
          <p:cNvSpPr/>
          <p:nvPr/>
        </p:nvSpPr>
        <p:spPr>
          <a:xfrm>
            <a:off x="6505834" y="3457199"/>
            <a:ext cx="1087394" cy="691979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TRAFI</a:t>
            </a:r>
          </a:p>
        </p:txBody>
      </p:sp>
      <p:sp>
        <p:nvSpPr>
          <p:cNvPr id="13" name="Suorakulmio 12"/>
          <p:cNvSpPr/>
          <p:nvPr/>
        </p:nvSpPr>
        <p:spPr>
          <a:xfrm>
            <a:off x="6796216" y="2428497"/>
            <a:ext cx="1087394" cy="691979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LIVE OYJ</a:t>
            </a:r>
          </a:p>
        </p:txBody>
      </p:sp>
      <p:sp>
        <p:nvSpPr>
          <p:cNvPr id="14" name="Suorakulmio 13"/>
          <p:cNvSpPr/>
          <p:nvPr/>
        </p:nvSpPr>
        <p:spPr>
          <a:xfrm>
            <a:off x="5946783" y="4234131"/>
            <a:ext cx="1087394" cy="691979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MAVI</a:t>
            </a:r>
          </a:p>
        </p:txBody>
      </p:sp>
      <p:cxnSp>
        <p:nvCxnSpPr>
          <p:cNvPr id="16" name="Suora nuoliyhdysviiva 15"/>
          <p:cNvCxnSpPr>
            <a:stCxn id="6" idx="2"/>
          </p:cNvCxnSpPr>
          <p:nvPr/>
        </p:nvCxnSpPr>
        <p:spPr>
          <a:xfrm flipH="1">
            <a:off x="4228330" y="1627751"/>
            <a:ext cx="155522" cy="1035903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uora nuoliyhdysviiva 17"/>
          <p:cNvCxnSpPr>
            <a:stCxn id="6" idx="1"/>
            <a:endCxn id="10" idx="3"/>
          </p:cNvCxnSpPr>
          <p:nvPr/>
        </p:nvCxnSpPr>
        <p:spPr>
          <a:xfrm flipH="1">
            <a:off x="3462388" y="1281762"/>
            <a:ext cx="377766" cy="69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uora nuoliyhdysviiva 19"/>
          <p:cNvCxnSpPr>
            <a:stCxn id="9" idx="3"/>
          </p:cNvCxnSpPr>
          <p:nvPr/>
        </p:nvCxnSpPr>
        <p:spPr>
          <a:xfrm>
            <a:off x="2190236" y="1563887"/>
            <a:ext cx="1065771" cy="1090486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uora nuoliyhdysviiva 21"/>
          <p:cNvCxnSpPr>
            <a:stCxn id="9" idx="2"/>
          </p:cNvCxnSpPr>
          <p:nvPr/>
        </p:nvCxnSpPr>
        <p:spPr>
          <a:xfrm flipH="1">
            <a:off x="1476633" y="1909875"/>
            <a:ext cx="169906" cy="413589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uora nuoliyhdysviiva 23"/>
          <p:cNvCxnSpPr>
            <a:stCxn id="6" idx="3"/>
            <a:endCxn id="5" idx="1"/>
          </p:cNvCxnSpPr>
          <p:nvPr/>
        </p:nvCxnSpPr>
        <p:spPr>
          <a:xfrm>
            <a:off x="4927548" y="1281762"/>
            <a:ext cx="1606480" cy="555706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uora nuoliyhdysviiva 25"/>
          <p:cNvCxnSpPr/>
          <p:nvPr/>
        </p:nvCxnSpPr>
        <p:spPr>
          <a:xfrm>
            <a:off x="4927548" y="1285109"/>
            <a:ext cx="1868668" cy="1483199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uora nuoliyhdysviiva 27"/>
          <p:cNvCxnSpPr>
            <a:stCxn id="6" idx="2"/>
          </p:cNvCxnSpPr>
          <p:nvPr/>
        </p:nvCxnSpPr>
        <p:spPr>
          <a:xfrm>
            <a:off x="4383853" y="1627753"/>
            <a:ext cx="1797475" cy="2596855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uora nuoliyhdysviiva 29"/>
          <p:cNvCxnSpPr>
            <a:stCxn id="5" idx="2"/>
            <a:endCxn id="13" idx="0"/>
          </p:cNvCxnSpPr>
          <p:nvPr/>
        </p:nvCxnSpPr>
        <p:spPr>
          <a:xfrm>
            <a:off x="7077725" y="2183459"/>
            <a:ext cx="262188" cy="245039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uora nuoliyhdysviiva 34"/>
          <p:cNvCxnSpPr>
            <a:stCxn id="6" idx="3"/>
          </p:cNvCxnSpPr>
          <p:nvPr/>
        </p:nvCxnSpPr>
        <p:spPr>
          <a:xfrm>
            <a:off x="4927549" y="1281763"/>
            <a:ext cx="1710164" cy="2165912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uora nuoliyhdysviiva 36"/>
          <p:cNvCxnSpPr>
            <a:stCxn id="7" idx="0"/>
          </p:cNvCxnSpPr>
          <p:nvPr/>
        </p:nvCxnSpPr>
        <p:spPr>
          <a:xfrm flipV="1">
            <a:off x="2973540" y="3636275"/>
            <a:ext cx="523656" cy="58586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uora nuoliyhdysviiva 38"/>
          <p:cNvCxnSpPr>
            <a:stCxn id="11" idx="3"/>
          </p:cNvCxnSpPr>
          <p:nvPr/>
        </p:nvCxnSpPr>
        <p:spPr>
          <a:xfrm flipV="1">
            <a:off x="566530" y="3121557"/>
            <a:ext cx="2299463" cy="893852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uora nuoliyhdysviiva 40"/>
          <p:cNvCxnSpPr>
            <a:stCxn id="6" idx="2"/>
          </p:cNvCxnSpPr>
          <p:nvPr/>
        </p:nvCxnSpPr>
        <p:spPr>
          <a:xfrm flipH="1">
            <a:off x="1356962" y="1627752"/>
            <a:ext cx="3026889" cy="1674209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kstiruutu 43"/>
          <p:cNvSpPr txBox="1"/>
          <p:nvPr/>
        </p:nvSpPr>
        <p:spPr>
          <a:xfrm>
            <a:off x="908734" y="1929606"/>
            <a:ext cx="1237839" cy="41549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1050" dirty="0">
                <a:solidFill>
                  <a:prstClr val="black"/>
                </a:solidFill>
                <a:latin typeface="Calibri" panose="020F0502020204030204"/>
              </a:rPr>
              <a:t>Kokeiluhankkeitte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1050" dirty="0">
                <a:solidFill>
                  <a:prstClr val="black"/>
                </a:solidFill>
                <a:latin typeface="Calibri" panose="020F0502020204030204"/>
              </a:rPr>
              <a:t>Vaikutus?</a:t>
            </a:r>
          </a:p>
        </p:txBody>
      </p:sp>
      <p:sp>
        <p:nvSpPr>
          <p:cNvPr id="45" name="Tekstiruutu 44"/>
          <p:cNvSpPr txBox="1"/>
          <p:nvPr/>
        </p:nvSpPr>
        <p:spPr>
          <a:xfrm>
            <a:off x="5556724" y="2653559"/>
            <a:ext cx="1216178" cy="415498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1050" dirty="0">
                <a:solidFill>
                  <a:prstClr val="black"/>
                </a:solidFill>
                <a:latin typeface="Calibri" panose="020F0502020204030204"/>
              </a:rPr>
              <a:t>Sääntely kevenee, aikataulu 2017?</a:t>
            </a:r>
          </a:p>
        </p:txBody>
      </p:sp>
      <p:sp>
        <p:nvSpPr>
          <p:cNvPr id="46" name="Tekstiruutu 45"/>
          <p:cNvSpPr txBox="1"/>
          <p:nvPr/>
        </p:nvSpPr>
        <p:spPr>
          <a:xfrm>
            <a:off x="7193817" y="2128840"/>
            <a:ext cx="292068" cy="369332"/>
          </a:xfrm>
          <a:prstGeom prst="rect">
            <a:avLst/>
          </a:prstGeom>
          <a:noFill/>
          <a:ln w="38100">
            <a:noFill/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black"/>
                </a:solidFill>
                <a:latin typeface="Calibri" panose="020F0502020204030204"/>
              </a:rPr>
              <a:t>?</a:t>
            </a:r>
          </a:p>
        </p:txBody>
      </p:sp>
      <p:sp>
        <p:nvSpPr>
          <p:cNvPr id="47" name="Tekstiruutu 46"/>
          <p:cNvSpPr txBox="1"/>
          <p:nvPr/>
        </p:nvSpPr>
        <p:spPr>
          <a:xfrm>
            <a:off x="5754520" y="2013873"/>
            <a:ext cx="761747" cy="253916"/>
          </a:xfrm>
          <a:prstGeom prst="rect">
            <a:avLst/>
          </a:prstGeom>
          <a:noFill/>
          <a:ln w="38100">
            <a:noFill/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1050" dirty="0">
                <a:solidFill>
                  <a:prstClr val="black"/>
                </a:solidFill>
                <a:latin typeface="Calibri" panose="020F0502020204030204"/>
              </a:rPr>
              <a:t>Aikataulu?</a:t>
            </a:r>
          </a:p>
        </p:txBody>
      </p:sp>
      <p:sp>
        <p:nvSpPr>
          <p:cNvPr id="48" name="Tekstiruutu 47"/>
          <p:cNvSpPr txBox="1"/>
          <p:nvPr/>
        </p:nvSpPr>
        <p:spPr>
          <a:xfrm>
            <a:off x="5721403" y="1413030"/>
            <a:ext cx="761747" cy="253916"/>
          </a:xfrm>
          <a:prstGeom prst="rect">
            <a:avLst/>
          </a:prstGeom>
          <a:noFill/>
          <a:ln w="38100">
            <a:noFill/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1050" dirty="0">
                <a:solidFill>
                  <a:prstClr val="black"/>
                </a:solidFill>
                <a:latin typeface="Calibri" panose="020F0502020204030204"/>
              </a:rPr>
              <a:t>Aikataulu?</a:t>
            </a:r>
          </a:p>
        </p:txBody>
      </p:sp>
      <p:cxnSp>
        <p:nvCxnSpPr>
          <p:cNvPr id="50" name="Suora nuoliyhdysviiva 49"/>
          <p:cNvCxnSpPr>
            <a:stCxn id="8" idx="3"/>
          </p:cNvCxnSpPr>
          <p:nvPr/>
        </p:nvCxnSpPr>
        <p:spPr>
          <a:xfrm>
            <a:off x="1646537" y="2669454"/>
            <a:ext cx="1240307" cy="34598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Suorakulmio 54"/>
          <p:cNvSpPr/>
          <p:nvPr/>
        </p:nvSpPr>
        <p:spPr>
          <a:xfrm>
            <a:off x="4750975" y="4234131"/>
            <a:ext cx="1087394" cy="691979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KEHA</a:t>
            </a:r>
          </a:p>
        </p:txBody>
      </p:sp>
      <p:cxnSp>
        <p:nvCxnSpPr>
          <p:cNvPr id="57" name="Suora nuoliyhdysviiva 56"/>
          <p:cNvCxnSpPr>
            <a:stCxn id="55" idx="0"/>
          </p:cNvCxnSpPr>
          <p:nvPr/>
        </p:nvCxnSpPr>
        <p:spPr>
          <a:xfrm flipH="1" flipV="1">
            <a:off x="4631463" y="3639389"/>
            <a:ext cx="663209" cy="594741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Suorakulmio 67"/>
          <p:cNvSpPr/>
          <p:nvPr/>
        </p:nvSpPr>
        <p:spPr>
          <a:xfrm>
            <a:off x="3590680" y="4234131"/>
            <a:ext cx="1087394" cy="69197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MAAKUNTA-LIITTO</a:t>
            </a:r>
          </a:p>
        </p:txBody>
      </p:sp>
      <p:cxnSp>
        <p:nvCxnSpPr>
          <p:cNvPr id="70" name="Suora nuoliyhdysviiva 69"/>
          <p:cNvCxnSpPr>
            <a:stCxn id="68" idx="0"/>
          </p:cNvCxnSpPr>
          <p:nvPr/>
        </p:nvCxnSpPr>
        <p:spPr>
          <a:xfrm flipH="1" flipV="1">
            <a:off x="4027862" y="3634973"/>
            <a:ext cx="106516" cy="59915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uorakulmio 39"/>
          <p:cNvSpPr/>
          <p:nvPr/>
        </p:nvSpPr>
        <p:spPr>
          <a:xfrm>
            <a:off x="7910612" y="945297"/>
            <a:ext cx="927335" cy="691979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ELÄKE</a:t>
            </a:r>
          </a:p>
        </p:txBody>
      </p:sp>
      <p:sp>
        <p:nvSpPr>
          <p:cNvPr id="49" name="Suorakulmio 48"/>
          <p:cNvSpPr/>
          <p:nvPr/>
        </p:nvSpPr>
        <p:spPr>
          <a:xfrm>
            <a:off x="318560" y="4699391"/>
            <a:ext cx="1087394" cy="691979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TUKES, KKV</a:t>
            </a:r>
          </a:p>
        </p:txBody>
      </p:sp>
      <p:cxnSp>
        <p:nvCxnSpPr>
          <p:cNvPr id="51" name="Suora nuoliyhdysviiva 50"/>
          <p:cNvCxnSpPr/>
          <p:nvPr/>
        </p:nvCxnSpPr>
        <p:spPr>
          <a:xfrm flipH="1">
            <a:off x="734096" y="4015421"/>
            <a:ext cx="9659" cy="683971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uora nuoliyhdysviiva 61"/>
          <p:cNvCxnSpPr/>
          <p:nvPr/>
        </p:nvCxnSpPr>
        <p:spPr>
          <a:xfrm flipV="1">
            <a:off x="1772898" y="3378924"/>
            <a:ext cx="1113946" cy="73268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Suorakulmio 64"/>
          <p:cNvSpPr/>
          <p:nvPr/>
        </p:nvSpPr>
        <p:spPr>
          <a:xfrm>
            <a:off x="7274365" y="4234130"/>
            <a:ext cx="1087394" cy="691979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white"/>
                </a:solidFill>
              </a:rPr>
              <a:t>EVIRA</a:t>
            </a:r>
          </a:p>
        </p:txBody>
      </p:sp>
      <p:sp>
        <p:nvSpPr>
          <p:cNvPr id="66" name="Tekstiruutu 65"/>
          <p:cNvSpPr txBox="1"/>
          <p:nvPr/>
        </p:nvSpPr>
        <p:spPr>
          <a:xfrm>
            <a:off x="526448" y="4266415"/>
            <a:ext cx="292068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black"/>
                </a:solidFill>
                <a:latin typeface="Calibri" panose="020F0502020204030204"/>
              </a:rPr>
              <a:t>?</a:t>
            </a:r>
          </a:p>
        </p:txBody>
      </p:sp>
      <p:sp>
        <p:nvSpPr>
          <p:cNvPr id="2" name="Tekstiruutu 1"/>
          <p:cNvSpPr txBox="1"/>
          <p:nvPr/>
        </p:nvSpPr>
        <p:spPr>
          <a:xfrm>
            <a:off x="1591116" y="2376933"/>
            <a:ext cx="12907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900" dirty="0">
                <a:solidFill>
                  <a:prstClr val="black"/>
                </a:solidFill>
                <a:latin typeface="Calibri" panose="020F0502020204030204"/>
              </a:rPr>
              <a:t>Koordinaatiotarve, jo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9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i-FI" sz="900" dirty="0" err="1">
                <a:solidFill>
                  <a:prstClr val="black"/>
                </a:solidFill>
                <a:latin typeface="Calibri" panose="020F0502020204030204"/>
              </a:rPr>
              <a:t>SOTE:ssa</a:t>
            </a:r>
            <a:r>
              <a:rPr lang="fi-FI" sz="900" dirty="0">
                <a:solidFill>
                  <a:prstClr val="black"/>
                </a:solidFill>
                <a:latin typeface="Calibri" panose="020F0502020204030204"/>
              </a:rPr>
              <a:t> ei huomioitu!</a:t>
            </a:r>
          </a:p>
        </p:txBody>
      </p:sp>
      <p:sp>
        <p:nvSpPr>
          <p:cNvPr id="52" name="Tekstiruutu 51"/>
          <p:cNvSpPr txBox="1"/>
          <p:nvPr/>
        </p:nvSpPr>
        <p:spPr>
          <a:xfrm>
            <a:off x="3351334" y="1070032"/>
            <a:ext cx="681597" cy="230832"/>
          </a:xfrm>
          <a:prstGeom prst="rect">
            <a:avLst/>
          </a:prstGeom>
          <a:noFill/>
          <a:ln w="38100">
            <a:noFill/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900" dirty="0">
                <a:solidFill>
                  <a:prstClr val="black"/>
                </a:solidFill>
                <a:latin typeface="Calibri" panose="020F0502020204030204"/>
              </a:rPr>
              <a:t>Aikataulu?</a:t>
            </a:r>
          </a:p>
        </p:txBody>
      </p:sp>
      <p:cxnSp>
        <p:nvCxnSpPr>
          <p:cNvPr id="54" name="Suora nuoliyhdysviiva 53"/>
          <p:cNvCxnSpPr/>
          <p:nvPr/>
        </p:nvCxnSpPr>
        <p:spPr>
          <a:xfrm>
            <a:off x="6805877" y="5672933"/>
            <a:ext cx="543697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uora nuoliyhdysviiva 55"/>
          <p:cNvCxnSpPr/>
          <p:nvPr/>
        </p:nvCxnSpPr>
        <p:spPr>
          <a:xfrm>
            <a:off x="6805877" y="5391742"/>
            <a:ext cx="543697" cy="0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kstiruutu 28"/>
          <p:cNvSpPr txBox="1"/>
          <p:nvPr/>
        </p:nvSpPr>
        <p:spPr>
          <a:xfrm>
            <a:off x="7364592" y="5252870"/>
            <a:ext cx="23588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black"/>
                </a:solidFill>
                <a:latin typeface="Calibri" panose="020F0502020204030204"/>
              </a:rPr>
              <a:t>Kuuluu toimeksiantoon</a:t>
            </a:r>
          </a:p>
        </p:txBody>
      </p:sp>
      <p:sp>
        <p:nvSpPr>
          <p:cNvPr id="58" name="Tekstiruutu 57"/>
          <p:cNvSpPr txBox="1"/>
          <p:nvPr/>
        </p:nvSpPr>
        <p:spPr>
          <a:xfrm>
            <a:off x="7373382" y="5535982"/>
            <a:ext cx="24396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dirty="0">
                <a:solidFill>
                  <a:prstClr val="black"/>
                </a:solidFill>
                <a:latin typeface="Calibri" panose="020F0502020204030204"/>
              </a:rPr>
              <a:t>Ei kuulu toimeksiantoon</a:t>
            </a:r>
          </a:p>
        </p:txBody>
      </p:sp>
      <p:sp>
        <p:nvSpPr>
          <p:cNvPr id="59" name="Tekstiruutu 58"/>
          <p:cNvSpPr txBox="1"/>
          <p:nvPr/>
        </p:nvSpPr>
        <p:spPr>
          <a:xfrm>
            <a:off x="4598944" y="3742000"/>
            <a:ext cx="1216178" cy="415498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i-FI" sz="1050" dirty="0">
                <a:solidFill>
                  <a:prstClr val="black"/>
                </a:solidFill>
                <a:latin typeface="Calibri" panose="020F0502020204030204"/>
              </a:rPr>
              <a:t>Hallinnon kokonaisratkaisu?</a:t>
            </a:r>
          </a:p>
        </p:txBody>
      </p:sp>
    </p:spTree>
    <p:extLst>
      <p:ext uri="{BB962C8B-B14F-4D97-AF65-F5344CB8AC3E}">
        <p14:creationId xmlns:p14="http://schemas.microsoft.com/office/powerpoint/2010/main" val="314164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Kuva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25" y="857250"/>
            <a:ext cx="796925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1661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Liikenneolot ovat olleet aina tärkeitä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fi-FI" dirty="0" smtClean="0"/>
              <a:t> ”Oulun tiepiirin historiikista v 2009”</a:t>
            </a:r>
          </a:p>
          <a:p>
            <a:endParaRPr lang="fi-FI" dirty="0"/>
          </a:p>
          <a:p>
            <a:pPr marL="0" indent="0">
              <a:buNone/>
            </a:pPr>
            <a:r>
              <a:rPr lang="fi-FI" dirty="0" smtClean="0"/>
              <a:t>”</a:t>
            </a:r>
            <a:r>
              <a:rPr lang="fi-FI" dirty="0"/>
              <a:t>Insinööri F. A. Hällström tarkasti 1830-luvun puolivälissä pohjoisen Suomen maanteitä ja kirjoitti </a:t>
            </a:r>
            <a:r>
              <a:rPr lang="fi-FI" b="1" dirty="0"/>
              <a:t>vuonna 1836 </a:t>
            </a:r>
            <a:r>
              <a:rPr lang="fi-FI" dirty="0"/>
              <a:t>kuvauksen näkemästään. </a:t>
            </a:r>
            <a:endParaRPr lang="fi-FI" dirty="0" smtClean="0"/>
          </a:p>
          <a:p>
            <a:pPr marL="0" indent="0">
              <a:buNone/>
            </a:pPr>
            <a:r>
              <a:rPr lang="fi-FI" dirty="0" smtClean="0"/>
              <a:t>Hällströmin </a:t>
            </a:r>
            <a:r>
              <a:rPr lang="fi-FI" dirty="0"/>
              <a:t>mielestä kokemukset olivat osoittaneet selvästi sen, että hätäaputöitä kannatti suunnata maanteiden rakentamiseen. </a:t>
            </a:r>
            <a:r>
              <a:rPr lang="fi-FI" b="1" dirty="0">
                <a:solidFill>
                  <a:srgbClr val="003883"/>
                </a:solidFill>
              </a:rPr>
              <a:t>Hänen mukaansa liikenneyhteydet olivat erityisen tärkeitä teollisuuden tarpeita varten, mutta myös tiheä asutus vaati hyviä yhteyksiä”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C89A02-2183-4EC2-9978-996C81F899C4}" type="slidenum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fi-FI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158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72" indent="-228594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160" indent="-228594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348" indent="-228594"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537" indent="-228594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726" indent="-228594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8915" indent="-228594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103" indent="-228594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F7E84C7-6BC3-4B55-89BE-1EB1ED8661C9}" type="slidenum">
              <a:rPr lang="fi-FI" altLang="fi-FI" sz="1000">
                <a:solidFill>
                  <a:srgbClr val="58585A"/>
                </a:solidFill>
              </a:rPr>
              <a:pPr/>
              <a:t>8</a:t>
            </a:fld>
            <a:endParaRPr lang="fi-FI" altLang="fi-FI" sz="1000">
              <a:solidFill>
                <a:srgbClr val="58585A"/>
              </a:solidFill>
            </a:endParaRP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96875" y="1270000"/>
            <a:ext cx="7777163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457189" lvl="1">
              <a:spcBef>
                <a:spcPct val="20000"/>
              </a:spcBef>
              <a:buClr>
                <a:srgbClr val="FDD078"/>
              </a:buClr>
              <a:buSzPct val="150000"/>
              <a:defRPr/>
            </a:pPr>
            <a:r>
              <a:rPr lang="fi-FI" sz="2800" b="1" dirty="0">
                <a:solidFill>
                  <a:srgbClr val="00B050"/>
                </a:solidFill>
                <a:latin typeface="Arial"/>
              </a:rPr>
              <a:t>Hallituksen liikennepoliittiset linjaukset</a:t>
            </a:r>
          </a:p>
        </p:txBody>
      </p:sp>
      <p:sp>
        <p:nvSpPr>
          <p:cNvPr id="5" name="Suorakulmio 4"/>
          <p:cNvSpPr/>
          <p:nvPr/>
        </p:nvSpPr>
        <p:spPr>
          <a:xfrm>
            <a:off x="1115616" y="2437924"/>
            <a:ext cx="6552728" cy="2160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95368" lvl="2" indent="-380990">
              <a:spcBef>
                <a:spcPct val="20000"/>
              </a:spcBef>
              <a:buClr>
                <a:srgbClr val="FDD078"/>
              </a:buClr>
              <a:buSzPct val="150000"/>
              <a:buFont typeface="Wingdings" pitchFamily="2" charset="2"/>
              <a:buChar char="§"/>
              <a:defRPr/>
            </a:pPr>
            <a:r>
              <a:rPr lang="fi-FI" sz="2400" dirty="0">
                <a:solidFill>
                  <a:srgbClr val="0070C0"/>
                </a:solidFill>
                <a:latin typeface="Arial"/>
              </a:rPr>
              <a:t>Perusväylänpitoon lisärahaa  - </a:t>
            </a:r>
            <a:r>
              <a:rPr lang="fi-FI" sz="2400">
                <a:solidFill>
                  <a:srgbClr val="0070C0"/>
                </a:solidFill>
                <a:latin typeface="Arial"/>
              </a:rPr>
              <a:t>korjausvelan taittaminen</a:t>
            </a:r>
            <a:endParaRPr lang="fi-FI" sz="2400" dirty="0">
              <a:solidFill>
                <a:srgbClr val="0070C0"/>
              </a:solidFill>
              <a:latin typeface="Arial"/>
            </a:endParaRPr>
          </a:p>
          <a:p>
            <a:pPr marL="1295368" lvl="2" indent="-380990">
              <a:spcBef>
                <a:spcPct val="20000"/>
              </a:spcBef>
              <a:buClr>
                <a:srgbClr val="FDD078"/>
              </a:buClr>
              <a:buSzPct val="150000"/>
              <a:buFont typeface="Wingdings" pitchFamily="2" charset="2"/>
              <a:buChar char="§"/>
              <a:defRPr/>
            </a:pPr>
            <a:r>
              <a:rPr lang="fi-FI" sz="2400" dirty="0">
                <a:solidFill>
                  <a:srgbClr val="0070C0"/>
                </a:solidFill>
                <a:latin typeface="Arial"/>
              </a:rPr>
              <a:t>Vähän isoja hankkeita</a:t>
            </a:r>
          </a:p>
          <a:p>
            <a:pPr marL="1295368" lvl="2" indent="-380990">
              <a:spcBef>
                <a:spcPct val="20000"/>
              </a:spcBef>
              <a:buClr>
                <a:srgbClr val="FDD078"/>
              </a:buClr>
              <a:buSzPct val="150000"/>
              <a:buFont typeface="Wingdings" pitchFamily="2" charset="2"/>
              <a:buChar char="§"/>
              <a:defRPr/>
            </a:pPr>
            <a:r>
              <a:rPr lang="fi-FI" sz="2400" dirty="0" err="1">
                <a:solidFill>
                  <a:srgbClr val="0070C0"/>
                </a:solidFill>
                <a:latin typeface="Arial"/>
              </a:rPr>
              <a:t>Digitalisaatio</a:t>
            </a:r>
            <a:endParaRPr lang="fi-FI" sz="2400" dirty="0">
              <a:solidFill>
                <a:srgbClr val="0070C0"/>
              </a:solidFill>
              <a:latin typeface="Arial"/>
            </a:endParaRPr>
          </a:p>
          <a:p>
            <a:pPr marL="838179" lvl="1" indent="-380990">
              <a:spcBef>
                <a:spcPct val="20000"/>
              </a:spcBef>
              <a:buClr>
                <a:srgbClr val="FDD078"/>
              </a:buClr>
              <a:buSzPct val="150000"/>
              <a:buFont typeface="Wingdings" pitchFamily="2" charset="2"/>
              <a:buChar char="§"/>
              <a:defRPr/>
            </a:pPr>
            <a:endParaRPr lang="fi-FI" sz="2400" dirty="0">
              <a:solidFill>
                <a:srgbClr val="003883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3542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784"/>
          <p:cNvSpPr>
            <a:spLocks noChangeArrowheads="1"/>
          </p:cNvSpPr>
          <p:nvPr/>
        </p:nvSpPr>
        <p:spPr bwMode="auto">
          <a:xfrm>
            <a:off x="4592639" y="2193926"/>
            <a:ext cx="1587" cy="1588"/>
          </a:xfrm>
          <a:prstGeom prst="rect">
            <a:avLst/>
          </a:prstGeom>
          <a:solidFill>
            <a:srgbClr val="A3A3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</a:pPr>
            <a:endParaRPr lang="fi-FI" altLang="fi-FI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291" name="AutoShape 28"/>
          <p:cNvSpPr>
            <a:spLocks noChangeAspect="1" noChangeArrowheads="1" noTextEdit="1"/>
          </p:cNvSpPr>
          <p:nvPr/>
        </p:nvSpPr>
        <p:spPr bwMode="auto">
          <a:xfrm>
            <a:off x="312739" y="673100"/>
            <a:ext cx="8785225" cy="589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endParaRPr lang="fi-FI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292" name="Rectangle 6"/>
          <p:cNvSpPr txBox="1">
            <a:spLocks noGrp="1" noChangeArrowheads="1"/>
          </p:cNvSpPr>
          <p:nvPr/>
        </p:nvSpPr>
        <p:spPr bwMode="auto">
          <a:xfrm>
            <a:off x="6686550" y="6226175"/>
            <a:ext cx="2133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0">
              <a:spcBef>
                <a:spcPct val="0"/>
              </a:spcBef>
              <a:buFontTx/>
              <a:buNone/>
            </a:pPr>
            <a:fld id="{307EA08C-0993-466F-A8FA-5525D22163DE}" type="slidenum">
              <a:rPr lang="fi-FI" altLang="fi-FI" sz="1400">
                <a:solidFill>
                  <a:srgbClr val="000000"/>
                </a:solidFill>
                <a:cs typeface="Arial" panose="020B0604020202020204" pitchFamily="34" charset="0"/>
              </a:rPr>
              <a:pPr algn="r" eaLnBrk="0" hangingPunct="0">
                <a:spcBef>
                  <a:spcPct val="0"/>
                </a:spcBef>
                <a:buFontTx/>
                <a:buNone/>
              </a:pPr>
              <a:t>9</a:t>
            </a:fld>
            <a:endParaRPr lang="fi-FI" altLang="fi-FI" sz="14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293" name="Rectangle 48"/>
          <p:cNvSpPr>
            <a:spLocks noChangeArrowheads="1"/>
          </p:cNvSpPr>
          <p:nvPr/>
        </p:nvSpPr>
        <p:spPr bwMode="auto">
          <a:xfrm>
            <a:off x="339725" y="5284788"/>
            <a:ext cx="2455863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</a:pPr>
            <a:endParaRPr lang="fi-FI" altLang="fi-FI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2294" name="Picture 49" descr="vt4_ 201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557339"/>
            <a:ext cx="8496300" cy="541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5" name="Rectangle 2"/>
          <p:cNvSpPr>
            <a:spLocks noChangeArrowheads="1"/>
          </p:cNvSpPr>
          <p:nvPr/>
        </p:nvSpPr>
        <p:spPr bwMode="auto">
          <a:xfrm>
            <a:off x="500063" y="117475"/>
            <a:ext cx="77993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fi-FI" altLang="fi-FI" sz="2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iireellisimmät toimenpiteet valtatielle 4 Oulu-Kemi, yhteensä 155 M€</a:t>
            </a:r>
            <a:r>
              <a:rPr lang="fi-FI" altLang="fi-FI" sz="2400" baseline="600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(*</a:t>
            </a:r>
          </a:p>
        </p:txBody>
      </p:sp>
      <p:sp>
        <p:nvSpPr>
          <p:cNvPr id="12296" name="AutoShape 28"/>
          <p:cNvSpPr>
            <a:spLocks noChangeAspect="1" noChangeArrowheads="1" noTextEdit="1"/>
          </p:cNvSpPr>
          <p:nvPr/>
        </p:nvSpPr>
        <p:spPr bwMode="auto">
          <a:xfrm>
            <a:off x="358776" y="673100"/>
            <a:ext cx="8785225" cy="589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endParaRPr lang="fi-FI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297" name="Rectangle 2784"/>
          <p:cNvSpPr>
            <a:spLocks noChangeArrowheads="1"/>
          </p:cNvSpPr>
          <p:nvPr/>
        </p:nvSpPr>
        <p:spPr bwMode="auto">
          <a:xfrm>
            <a:off x="4592639" y="2193926"/>
            <a:ext cx="1587" cy="1588"/>
          </a:xfrm>
          <a:prstGeom prst="rect">
            <a:avLst/>
          </a:prstGeom>
          <a:solidFill>
            <a:srgbClr val="A3A3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</a:pPr>
            <a:endParaRPr lang="fi-FI" altLang="fi-FI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298" name="Text Box 8305"/>
          <p:cNvSpPr txBox="1">
            <a:spLocks noChangeArrowheads="1"/>
          </p:cNvSpPr>
          <p:nvPr/>
        </p:nvSpPr>
        <p:spPr bwMode="auto">
          <a:xfrm>
            <a:off x="179388" y="1052513"/>
            <a:ext cx="374491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Oulun kohta 29 km, 71 M€ </a:t>
            </a:r>
          </a:p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(kuntien osuus 31,1 M€)</a:t>
            </a:r>
          </a:p>
        </p:txBody>
      </p:sp>
      <p:sp>
        <p:nvSpPr>
          <p:cNvPr id="12299" name="Text Box 11066"/>
          <p:cNvSpPr txBox="1">
            <a:spLocks noChangeArrowheads="1"/>
          </p:cNvSpPr>
          <p:nvPr/>
        </p:nvSpPr>
        <p:spPr bwMode="auto">
          <a:xfrm>
            <a:off x="3100389" y="1547814"/>
            <a:ext cx="3313112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Haukiputaan kohta 33 km  </a:t>
            </a:r>
          </a:p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Moottoritie 16,3 M€</a:t>
            </a:r>
          </a:p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Moottoriväylä 12,2 M€</a:t>
            </a:r>
            <a:r>
              <a:rPr lang="fi-FI" altLang="fi-FI" sz="1400">
                <a:solidFill>
                  <a:srgbClr val="FFFFF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  <a:p>
            <a:pPr eaLnBrk="0" hangingPunct="0">
              <a:spcBef>
                <a:spcPct val="50000"/>
              </a:spcBef>
              <a:buFontTx/>
              <a:buNone/>
            </a:pPr>
            <a:endParaRPr lang="fi-FI" altLang="fi-FI" sz="140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2300" name="Text Box 11067"/>
          <p:cNvSpPr txBox="1">
            <a:spLocks noChangeArrowheads="1"/>
          </p:cNvSpPr>
          <p:nvPr/>
        </p:nvSpPr>
        <p:spPr bwMode="auto">
          <a:xfrm>
            <a:off x="5940426" y="1484313"/>
            <a:ext cx="360203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Ohituskaistatie 60 km  </a:t>
            </a:r>
          </a:p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Ii-Kuivaniemi 26 M€</a:t>
            </a:r>
          </a:p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1400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uivaniemi-Maksniemi 29,5 M€</a:t>
            </a:r>
          </a:p>
        </p:txBody>
      </p:sp>
      <p:sp>
        <p:nvSpPr>
          <p:cNvPr id="12301" name="Rectangle 5554"/>
          <p:cNvSpPr>
            <a:spLocks noChangeArrowheads="1"/>
          </p:cNvSpPr>
          <p:nvPr/>
        </p:nvSpPr>
        <p:spPr bwMode="auto">
          <a:xfrm>
            <a:off x="6084889" y="2349500"/>
            <a:ext cx="2744787" cy="3455988"/>
          </a:xfrm>
          <a:prstGeom prst="rect">
            <a:avLst/>
          </a:prstGeom>
          <a:noFill/>
          <a:ln w="76200" algn="ctr">
            <a:solidFill>
              <a:srgbClr val="FF99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</a:pPr>
            <a:endParaRPr lang="fi-FI" altLang="fi-FI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302" name="Rectangle 5555"/>
          <p:cNvSpPr>
            <a:spLocks noChangeArrowheads="1"/>
          </p:cNvSpPr>
          <p:nvPr/>
        </p:nvSpPr>
        <p:spPr bwMode="auto">
          <a:xfrm>
            <a:off x="3203576" y="2349500"/>
            <a:ext cx="2627313" cy="3455988"/>
          </a:xfrm>
          <a:prstGeom prst="rect">
            <a:avLst/>
          </a:prstGeom>
          <a:noFill/>
          <a:ln w="76200" algn="ctr">
            <a:solidFill>
              <a:srgbClr val="33CCCC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</a:pPr>
            <a:endParaRPr lang="fi-FI" altLang="fi-FI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2303" name="Rectangle 5556"/>
          <p:cNvSpPr>
            <a:spLocks noChangeArrowheads="1"/>
          </p:cNvSpPr>
          <p:nvPr/>
        </p:nvSpPr>
        <p:spPr bwMode="auto">
          <a:xfrm>
            <a:off x="323850" y="1587500"/>
            <a:ext cx="2476500" cy="4002088"/>
          </a:xfrm>
          <a:prstGeom prst="rect">
            <a:avLst/>
          </a:prstGeom>
          <a:noFill/>
          <a:ln w="76200" algn="ctr">
            <a:solidFill>
              <a:srgbClr val="99FF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</a:pPr>
            <a:endParaRPr lang="fi-FI" altLang="fi-FI" sz="1800">
              <a:solidFill>
                <a:srgbClr val="99FF66"/>
              </a:solidFill>
              <a:cs typeface="Arial" panose="020B0604020202020204" pitchFamily="34" charset="0"/>
            </a:endParaRPr>
          </a:p>
        </p:txBody>
      </p:sp>
      <p:sp>
        <p:nvSpPr>
          <p:cNvPr id="12304" name="Tekstiruutu 1"/>
          <p:cNvSpPr txBox="1">
            <a:spLocks noChangeArrowheads="1"/>
          </p:cNvSpPr>
          <p:nvPr/>
        </p:nvSpPr>
        <p:spPr bwMode="auto">
          <a:xfrm>
            <a:off x="3600451" y="6564314"/>
            <a:ext cx="155257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fi-FI" altLang="fi-FI" sz="900">
                <a:solidFill>
                  <a:srgbClr val="000000"/>
                </a:solidFill>
                <a:cs typeface="Arial" panose="020B0604020202020204" pitchFamily="34" charset="0"/>
              </a:rPr>
              <a:t>*) Maku 130, 2010=100</a:t>
            </a:r>
          </a:p>
        </p:txBody>
      </p:sp>
      <p:sp>
        <p:nvSpPr>
          <p:cNvPr id="12305" name="Alatunnisteen paikkamerkki 5"/>
          <p:cNvSpPr txBox="1">
            <a:spLocks noGrp="1"/>
          </p:cNvSpPr>
          <p:nvPr/>
        </p:nvSpPr>
        <p:spPr bwMode="auto">
          <a:xfrm>
            <a:off x="5313364" y="6619875"/>
            <a:ext cx="3598862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r>
              <a:rPr lang="fi-FI" altLang="fi-FI" sz="800">
                <a:solidFill>
                  <a:srgbClr val="0B6EFF"/>
                </a:solidFill>
              </a:rPr>
              <a:t>Pohjois-Pohjanmaan liikenteen kärkihankkeet 2015</a:t>
            </a:r>
          </a:p>
        </p:txBody>
      </p:sp>
      <p:sp>
        <p:nvSpPr>
          <p:cNvPr id="12306" name="Rectangle 20"/>
          <p:cNvSpPr>
            <a:spLocks noChangeArrowheads="1"/>
          </p:cNvSpPr>
          <p:nvPr/>
        </p:nvSpPr>
        <p:spPr bwMode="auto">
          <a:xfrm>
            <a:off x="1577975" y="3532188"/>
            <a:ext cx="295275" cy="142875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</a:pPr>
            <a:endParaRPr lang="fi-FI" altLang="fi-FI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6387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Y_EA02_PowerP_________RGB[1]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eELY-toimintamallityö-Laajennettu ydinryhmä-18 3+kommentit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_eELY-toimintamallityö-Laajennettu ydinryhmä-18 3+kommentit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_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_uusi_pohja">
  <a:themeElements>
    <a:clrScheme name="Liikennevirast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6AF"/>
      </a:accent1>
      <a:accent2>
        <a:srgbClr val="0088CE"/>
      </a:accent2>
      <a:accent3>
        <a:srgbClr val="3DB7E4"/>
      </a:accent3>
      <a:accent4>
        <a:srgbClr val="EA8A00"/>
      </a:accent4>
      <a:accent5>
        <a:srgbClr val="84CAC6"/>
      </a:accent5>
      <a:accent6>
        <a:srgbClr val="BCBC7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aajakuva_Liikennevirasto.potx" id="{0143C127-69F1-4019-A783-DCE95FA98011}" vid="{BC132C1A-C7CF-40D1-855E-3389885240FB}"/>
    </a:ext>
  </a:extLst>
</a:theme>
</file>

<file path=ppt/theme/theme15.xml><?xml version="1.0" encoding="utf-8"?>
<a:theme xmlns:a="http://schemas.openxmlformats.org/drawingml/2006/main" name="1_ELY_EA02_PowerP_________RGB[1]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2_ELY_EA02_PowerP_________RGB[1]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POP ELY PowerPoint-pohja">
  <a:themeElements>
    <a:clrScheme name="ELY värit">
      <a:dk1>
        <a:srgbClr val="58585A"/>
      </a:dk1>
      <a:lt1>
        <a:sysClr val="window" lastClr="FFFFFF"/>
      </a:lt1>
      <a:dk2>
        <a:srgbClr val="003883"/>
      </a:dk2>
      <a:lt2>
        <a:srgbClr val="FDD078"/>
      </a:lt2>
      <a:accent1>
        <a:srgbClr val="D9640C"/>
      </a:accent1>
      <a:accent2>
        <a:srgbClr val="779346"/>
      </a:accent2>
      <a:accent3>
        <a:srgbClr val="003883"/>
      </a:accent3>
      <a:accent4>
        <a:srgbClr val="4460A5"/>
      </a:accent4>
      <a:accent5>
        <a:srgbClr val="58585A"/>
      </a:accent5>
      <a:accent6>
        <a:srgbClr val="FDD078"/>
      </a:accent6>
      <a:hlink>
        <a:srgbClr val="003883"/>
      </a:hlink>
      <a:folHlink>
        <a:srgbClr val="00559F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4_ELY_EA01_PowerP_________RGB">
  <a:themeElements>
    <a:clrScheme name="ELYn_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5_ELY_EA01_PowerP_________RGB">
  <a:themeElements>
    <a:clrScheme name="ELYn_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ELY_EA01_PowerP_________RGB">
  <a:themeElements>
    <a:clrScheme name="ELY värit">
      <a:dk1>
        <a:srgbClr val="58585A"/>
      </a:dk1>
      <a:lt1>
        <a:sysClr val="window" lastClr="FFFFFF"/>
      </a:lt1>
      <a:dk2>
        <a:srgbClr val="003883"/>
      </a:dk2>
      <a:lt2>
        <a:srgbClr val="FDD078"/>
      </a:lt2>
      <a:accent1>
        <a:srgbClr val="D9640C"/>
      </a:accent1>
      <a:accent2>
        <a:srgbClr val="779346"/>
      </a:accent2>
      <a:accent3>
        <a:srgbClr val="003883"/>
      </a:accent3>
      <a:accent4>
        <a:srgbClr val="4460A5"/>
      </a:accent4>
      <a:accent5>
        <a:srgbClr val="58585A"/>
      </a:accent5>
      <a:accent6>
        <a:srgbClr val="FDD078"/>
      </a:accent6>
      <a:hlink>
        <a:srgbClr val="003883"/>
      </a:hlink>
      <a:folHlink>
        <a:srgbClr val="00559F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_ELY_EA02_PowerP_________RGB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Oletusrakenne">
  <a:themeElements>
    <a:clrScheme name="Oletusrakenne 14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Oletusrakenn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letusraken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letusrakenn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99"/>
        </a:hlink>
        <a:folHlink>
          <a:srgbClr val="0000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letusrakenn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TEM_DB01_laaja__FI_V____RGB">
  <a:themeElements>
    <a:clrScheme name="TEM2016">
      <a:dk1>
        <a:srgbClr val="000000"/>
      </a:dk1>
      <a:lt1>
        <a:srgbClr val="FFFFFF"/>
      </a:lt1>
      <a:dk2>
        <a:srgbClr val="001E60"/>
      </a:dk2>
      <a:lt2>
        <a:srgbClr val="D5B37A"/>
      </a:lt2>
      <a:accent1>
        <a:srgbClr val="001E60"/>
      </a:accent1>
      <a:accent2>
        <a:srgbClr val="EE2737"/>
      </a:accent2>
      <a:accent3>
        <a:srgbClr val="FF8200"/>
      </a:accent3>
      <a:accent4>
        <a:srgbClr val="F2A900"/>
      </a:accent4>
      <a:accent5>
        <a:srgbClr val="97D700"/>
      </a:accent5>
      <a:accent6>
        <a:srgbClr val="00BFB3"/>
      </a:accent6>
      <a:hlink>
        <a:srgbClr val="009CDE"/>
      </a:hlink>
      <a:folHlink>
        <a:srgbClr val="485CC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4200" b="1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-ppt-vedos-1-vaaka.pptx" id="{E64F3C97-54AF-43FF-9651-728260338761}" vid="{7833688B-53DB-47C4-9BDC-425B6DD444B3}"/>
    </a:ext>
  </a:extLst>
</a:theme>
</file>

<file path=ppt/theme/theme23.xml><?xml version="1.0" encoding="utf-8"?>
<a:theme xmlns:a="http://schemas.openxmlformats.org/drawingml/2006/main" name="1_POP ELY PowerPoint-pohja">
  <a:themeElements>
    <a:clrScheme name="ELY värit">
      <a:dk1>
        <a:srgbClr val="58585A"/>
      </a:dk1>
      <a:lt1>
        <a:sysClr val="window" lastClr="FFFFFF"/>
      </a:lt1>
      <a:dk2>
        <a:srgbClr val="003883"/>
      </a:dk2>
      <a:lt2>
        <a:srgbClr val="FDD078"/>
      </a:lt2>
      <a:accent1>
        <a:srgbClr val="D9640C"/>
      </a:accent1>
      <a:accent2>
        <a:srgbClr val="779346"/>
      </a:accent2>
      <a:accent3>
        <a:srgbClr val="003883"/>
      </a:accent3>
      <a:accent4>
        <a:srgbClr val="4460A5"/>
      </a:accent4>
      <a:accent5>
        <a:srgbClr val="58585A"/>
      </a:accent5>
      <a:accent6>
        <a:srgbClr val="FDD078"/>
      </a:accent6>
      <a:hlink>
        <a:srgbClr val="003883"/>
      </a:hlink>
      <a:folHlink>
        <a:srgbClr val="00559F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ELY_EA02_PowerP_________RGB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LY_EA01_PowerP_________RGB">
  <a:themeElements>
    <a:clrScheme name="ELY värit">
      <a:dk1>
        <a:srgbClr val="58585A"/>
      </a:dk1>
      <a:lt1>
        <a:sysClr val="window" lastClr="FFFFFF"/>
      </a:lt1>
      <a:dk2>
        <a:srgbClr val="003883"/>
      </a:dk2>
      <a:lt2>
        <a:srgbClr val="FDD078"/>
      </a:lt2>
      <a:accent1>
        <a:srgbClr val="D9640C"/>
      </a:accent1>
      <a:accent2>
        <a:srgbClr val="779346"/>
      </a:accent2>
      <a:accent3>
        <a:srgbClr val="003883"/>
      </a:accent3>
      <a:accent4>
        <a:srgbClr val="4460A5"/>
      </a:accent4>
      <a:accent5>
        <a:srgbClr val="58585A"/>
      </a:accent5>
      <a:accent6>
        <a:srgbClr val="FDD078"/>
      </a:accent6>
      <a:hlink>
        <a:srgbClr val="003883"/>
      </a:hlink>
      <a:folHlink>
        <a:srgbClr val="00559F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ELY_EA01_PowerP_________RGB">
  <a:themeElements>
    <a:clrScheme name="ELY värit">
      <a:dk1>
        <a:srgbClr val="58585A"/>
      </a:dk1>
      <a:lt1>
        <a:sysClr val="window" lastClr="FFFFFF"/>
      </a:lt1>
      <a:dk2>
        <a:srgbClr val="003883"/>
      </a:dk2>
      <a:lt2>
        <a:srgbClr val="FDD078"/>
      </a:lt2>
      <a:accent1>
        <a:srgbClr val="D9640C"/>
      </a:accent1>
      <a:accent2>
        <a:srgbClr val="779346"/>
      </a:accent2>
      <a:accent3>
        <a:srgbClr val="003883"/>
      </a:accent3>
      <a:accent4>
        <a:srgbClr val="4460A5"/>
      </a:accent4>
      <a:accent5>
        <a:srgbClr val="58585A"/>
      </a:accent5>
      <a:accent6>
        <a:srgbClr val="FDD078"/>
      </a:accent6>
      <a:hlink>
        <a:srgbClr val="003883"/>
      </a:hlink>
      <a:folHlink>
        <a:srgbClr val="00559F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ELY_powerpoint_pohja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ELY_powerpoint_pohja">
  <a:themeElements>
    <a:clrScheme name="ELY-värit">
      <a:dk1>
        <a:sysClr val="windowText" lastClr="000000"/>
      </a:dk1>
      <a:lt1>
        <a:srgbClr val="FFFFFF"/>
      </a:lt1>
      <a:dk2>
        <a:srgbClr val="58585A"/>
      </a:dk2>
      <a:lt2>
        <a:srgbClr val="D8D8D8"/>
      </a:lt2>
      <a:accent1>
        <a:srgbClr val="003883"/>
      </a:accent1>
      <a:accent2>
        <a:srgbClr val="779346"/>
      </a:accent2>
      <a:accent3>
        <a:srgbClr val="D9640C"/>
      </a:accent3>
      <a:accent4>
        <a:srgbClr val="4460A5"/>
      </a:accent4>
      <a:accent5>
        <a:srgbClr val="58585A"/>
      </a:accent5>
      <a:accent6>
        <a:srgbClr val="FDD078"/>
      </a:accent6>
      <a:hlink>
        <a:srgbClr val="D9640C"/>
      </a:hlink>
      <a:folHlink>
        <a:srgbClr val="D9640C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ELY_EA01_PowerP_________RGB">
  <a:themeElements>
    <a:clrScheme name="ELY värit">
      <a:dk1>
        <a:srgbClr val="58585A"/>
      </a:dk1>
      <a:lt1>
        <a:sysClr val="window" lastClr="FFFFFF"/>
      </a:lt1>
      <a:dk2>
        <a:srgbClr val="003883"/>
      </a:dk2>
      <a:lt2>
        <a:srgbClr val="FDD078"/>
      </a:lt2>
      <a:accent1>
        <a:srgbClr val="D9640C"/>
      </a:accent1>
      <a:accent2>
        <a:srgbClr val="779346"/>
      </a:accent2>
      <a:accent3>
        <a:srgbClr val="003883"/>
      </a:accent3>
      <a:accent4>
        <a:srgbClr val="4460A5"/>
      </a:accent4>
      <a:accent5>
        <a:srgbClr val="58585A"/>
      </a:accent5>
      <a:accent6>
        <a:srgbClr val="FDD078"/>
      </a:accent6>
      <a:hlink>
        <a:srgbClr val="003883"/>
      </a:hlink>
      <a:folHlink>
        <a:srgbClr val="00559F"/>
      </a:folHlink>
    </a:clrScheme>
    <a:fontScheme name="ELY_font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ema 1">
        <a:dk1>
          <a:srgbClr val="59595B"/>
        </a:dk1>
        <a:lt1>
          <a:srgbClr val="FFFFFF"/>
        </a:lt1>
        <a:dk2>
          <a:srgbClr val="0081CC"/>
        </a:dk2>
        <a:lt2>
          <a:srgbClr val="A7A8AB"/>
        </a:lt2>
        <a:accent1>
          <a:srgbClr val="859FCB"/>
        </a:accent1>
        <a:accent2>
          <a:srgbClr val="D87F82"/>
        </a:accent2>
        <a:accent3>
          <a:srgbClr val="FFFFFF"/>
        </a:accent3>
        <a:accent4>
          <a:srgbClr val="4B4B4C"/>
        </a:accent4>
        <a:accent5>
          <a:srgbClr val="C2CDE2"/>
        </a:accent5>
        <a:accent6>
          <a:srgbClr val="C47275"/>
        </a:accent6>
        <a:hlink>
          <a:srgbClr val="7FD1ED"/>
        </a:hlink>
        <a:folHlink>
          <a:srgbClr val="F7BC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D521FC1A6DA4AB4E8AB00F6535EE7F78" ma:contentTypeVersion="0" ma:contentTypeDescription="Luo uusi asiakirja." ma:contentTypeScope="" ma:versionID="ff60cbc4541313250630744d423ce924">
  <xsd:schema xmlns:xsd="http://www.w3.org/2001/XMLSchema" xmlns:p="http://schemas.microsoft.com/office/2006/metadata/properties" targetNamespace="http://schemas.microsoft.com/office/2006/metadata/properties" ma:root="true" ma:fieldsID="22c9da951e987266d296bc1d7d04551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 ma:readOnly="true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64B571-3D32-4DF2-9E8E-D1186F8566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C2D8A33C-B1F4-4E53-A46C-AE6E51E3DE4A}">
  <ds:schemaRefs>
    <ds:schemaRef ds:uri="http://purl.org/dc/dcmitype/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D1D7D640-9DBC-437C-8B42-3FD745651C7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LY_EA02_PowerP_________RGB[1]</Template>
  <TotalTime>7232</TotalTime>
  <Words>656</Words>
  <Application>Microsoft Office PowerPoint</Application>
  <PresentationFormat>Näytössä katseltava diaesitys (4:3)</PresentationFormat>
  <Paragraphs>165</Paragraphs>
  <Slides>16</Slides>
  <Notes>4</Notes>
  <HiddenSlides>0</HiddenSlides>
  <MMClips>0</MMClips>
  <ScaleCrop>false</ScaleCrop>
  <HeadingPairs>
    <vt:vector size="8" baseType="variant">
      <vt:variant>
        <vt:lpstr>Käytetyt fontit</vt:lpstr>
      </vt:variant>
      <vt:variant>
        <vt:i4>8</vt:i4>
      </vt:variant>
      <vt:variant>
        <vt:lpstr>Teema</vt:lpstr>
      </vt:variant>
      <vt:variant>
        <vt:i4>23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6</vt:i4>
      </vt:variant>
    </vt:vector>
  </HeadingPairs>
  <TitlesOfParts>
    <vt:vector size="48" baseType="lpstr">
      <vt:lpstr>Arial</vt:lpstr>
      <vt:lpstr>Arial Black</vt:lpstr>
      <vt:lpstr>Calibri</vt:lpstr>
      <vt:lpstr>Calibri Light</vt:lpstr>
      <vt:lpstr>Felbridge Pro</vt:lpstr>
      <vt:lpstr>Times New Roman</vt:lpstr>
      <vt:lpstr>Verdana</vt:lpstr>
      <vt:lpstr>Wingdings</vt:lpstr>
      <vt:lpstr>ELY_EA02_PowerP_________RGB[1]</vt:lpstr>
      <vt:lpstr>ELY_EA01_PowerP_________RGB</vt:lpstr>
      <vt:lpstr>ELY_EA02_PowerP_________RGB</vt:lpstr>
      <vt:lpstr>1_ELY_EA01_PowerP_________RGB</vt:lpstr>
      <vt:lpstr>2_ELY_EA01_PowerP_________RGB</vt:lpstr>
      <vt:lpstr>Office-teema</vt:lpstr>
      <vt:lpstr>ELY_powerpoint_pohja</vt:lpstr>
      <vt:lpstr>1_ELY_powerpoint_pohja</vt:lpstr>
      <vt:lpstr>3_ELY_EA01_PowerP_________RGB</vt:lpstr>
      <vt:lpstr>eELY-toimintamallityö-Laajennettu ydinryhmä-18 3+kommentit</vt:lpstr>
      <vt:lpstr>1_Office-teema</vt:lpstr>
      <vt:lpstr>1_eELY-toimintamallityö-Laajennettu ydinryhmä-18 3+kommentit</vt:lpstr>
      <vt:lpstr>2_Office-teema</vt:lpstr>
      <vt:lpstr>1_uusi_pohja</vt:lpstr>
      <vt:lpstr>1_ELY_EA02_PowerP_________RGB[1]</vt:lpstr>
      <vt:lpstr>2_ELY_EA02_PowerP_________RGB[1]</vt:lpstr>
      <vt:lpstr>POP ELY PowerPoint-pohja</vt:lpstr>
      <vt:lpstr>4_ELY_EA01_PowerP_________RGB</vt:lpstr>
      <vt:lpstr>5_ELY_EA01_PowerP_________RGB</vt:lpstr>
      <vt:lpstr>1_ELY_EA02_PowerP_________RGB</vt:lpstr>
      <vt:lpstr>Oletusrakenne</vt:lpstr>
      <vt:lpstr>TEM_DB01_laaja__FI_V____RGB</vt:lpstr>
      <vt:lpstr>1_POP ELY PowerPoint-pohja</vt:lpstr>
      <vt:lpstr>think-cell Slide</vt:lpstr>
      <vt:lpstr>PowerPoint-esitys</vt:lpstr>
      <vt:lpstr>Liikennehallinosassa kaksi uutta organisaatiota</vt:lpstr>
      <vt:lpstr>Aluehallintouudistus on hallituksen kärkihanke, valmistelu käynnistynyt</vt:lpstr>
      <vt:lpstr>Uudistuksen aikataulu</vt:lpstr>
      <vt:lpstr>PowerPoint-esitys</vt:lpstr>
      <vt:lpstr>PowerPoint-esitys</vt:lpstr>
      <vt:lpstr>Liikenneolot ovat olleet aina tärkeitä</vt:lpstr>
      <vt:lpstr>Hallituksen liikennepoliittiset linjaukset</vt:lpstr>
      <vt:lpstr>PowerPoint-esitys</vt:lpstr>
      <vt:lpstr>Toimenpiteet ja kustannukset / yhteenveto </vt:lpstr>
      <vt:lpstr>PowerPoint-esitys</vt:lpstr>
      <vt:lpstr>Hailuodon liikenneyhteyden kehittämiseen ratkaisu</vt:lpstr>
      <vt:lpstr>PowerPoint-esitys</vt:lpstr>
      <vt:lpstr>Korjausvelkarahoitus 2016 - 2019</vt:lpstr>
      <vt:lpstr>PowerPoint-esitys</vt:lpstr>
      <vt:lpstr>Perusväylänpidon lisärahoituskohteet 2017 - 2019</vt:lpstr>
    </vt:vector>
  </TitlesOfParts>
  <Company>Aluehallint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Ville Kinnunen</dc:creator>
  <cp:lastModifiedBy>Räinä Matti</cp:lastModifiedBy>
  <cp:revision>458</cp:revision>
  <dcterms:created xsi:type="dcterms:W3CDTF">2012-03-27T07:46:10Z</dcterms:created>
  <dcterms:modified xsi:type="dcterms:W3CDTF">2016-09-01T05:11:22Z</dcterms:modified>
</cp:coreProperties>
</file>